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diagrams/layout4.xml" ContentType="application/vnd.openxmlformats-officedocument.drawingml.diagram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</p:sldMasterIdLst>
  <p:notesMasterIdLst>
    <p:notesMasterId r:id="rId19"/>
  </p:notesMasterIdLst>
  <p:sldIdLst>
    <p:sldId id="276" r:id="rId2"/>
    <p:sldId id="290" r:id="rId3"/>
    <p:sldId id="291" r:id="rId4"/>
    <p:sldId id="292" r:id="rId5"/>
    <p:sldId id="293" r:id="rId6"/>
    <p:sldId id="294" r:id="rId7"/>
    <p:sldId id="278" r:id="rId8"/>
    <p:sldId id="279" r:id="rId9"/>
    <p:sldId id="268" r:id="rId10"/>
    <p:sldId id="270" r:id="rId11"/>
    <p:sldId id="284" r:id="rId12"/>
    <p:sldId id="267" r:id="rId13"/>
    <p:sldId id="282" r:id="rId14"/>
    <p:sldId id="280" r:id="rId15"/>
    <p:sldId id="283" r:id="rId16"/>
    <p:sldId id="272" r:id="rId17"/>
    <p:sldId id="295" r:id="rId18"/>
  </p:sldIdLst>
  <p:sldSz cx="9144000" cy="6858000" type="screen4x3"/>
  <p:notesSz cx="6858000" cy="91440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tty Jasmid Buitrago Rosero" initials="BJB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4B152325-D157-4A48-A81C-9087CD9D3798}">
  <a:tblStyle styleId="{4B152325-D157-4A48-A81C-9087CD9D3798}" styleName="Table_0"/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Estilo temático 2 - Énfasis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Estilo claro 2 - Énfasi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63" autoAdjust="0"/>
    <p:restoredTop sz="94595" autoAdjust="0"/>
  </p:normalViewPr>
  <p:slideViewPr>
    <p:cSldViewPr>
      <p:cViewPr>
        <p:scale>
          <a:sx n="90" d="100"/>
          <a:sy n="90" d="100"/>
        </p:scale>
        <p:origin x="-612" y="5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61DBEA-74E9-4506-926E-4A5AA7583668}" type="doc">
      <dgm:prSet loTypeId="urn:microsoft.com/office/officeart/2005/8/layout/radial6" loCatId="cycle" qsTypeId="urn:microsoft.com/office/officeart/2005/8/quickstyle/3d9" qsCatId="3D" csTypeId="urn:microsoft.com/office/officeart/2005/8/colors/colorful1#14" csCatId="colorful" phldr="1"/>
      <dgm:spPr/>
      <dgm:t>
        <a:bodyPr/>
        <a:lstStyle/>
        <a:p>
          <a:endParaRPr lang="es-ES"/>
        </a:p>
      </dgm:t>
    </dgm:pt>
    <dgm:pt modelId="{ED1A7A74-A97B-4EB6-A3B5-A88B7C1518EC}">
      <dgm:prSet phldrT="[Texto]"/>
      <dgm:spPr>
        <a:solidFill>
          <a:schemeClr val="bg2"/>
        </a:solidFill>
      </dgm:spPr>
      <dgm:t>
        <a:bodyPr/>
        <a:lstStyle/>
        <a:p>
          <a:r>
            <a:rPr lang="es-ES" dirty="0" smtClean="0"/>
            <a:t>CIEN</a:t>
          </a:r>
          <a:endParaRPr lang="es-ES" dirty="0"/>
        </a:p>
      </dgm:t>
    </dgm:pt>
    <dgm:pt modelId="{77677568-B9AD-443E-A461-F0C6788415FE}" type="parTrans" cxnId="{34107D21-8E0A-439F-8625-783C6646C429}">
      <dgm:prSet/>
      <dgm:spPr/>
      <dgm:t>
        <a:bodyPr/>
        <a:lstStyle/>
        <a:p>
          <a:endParaRPr lang="es-ES"/>
        </a:p>
      </dgm:t>
    </dgm:pt>
    <dgm:pt modelId="{DB2067A6-321D-48B0-B69F-6667ACE2BD78}" type="sibTrans" cxnId="{34107D21-8E0A-439F-8625-783C6646C429}">
      <dgm:prSet/>
      <dgm:spPr/>
      <dgm:t>
        <a:bodyPr/>
        <a:lstStyle/>
        <a:p>
          <a:endParaRPr lang="es-ES"/>
        </a:p>
      </dgm:t>
    </dgm:pt>
    <dgm:pt modelId="{26765DD3-EDF5-4930-ADD3-80DE3BE70B72}">
      <dgm:prSet phldrT="[Texto]"/>
      <dgm:spPr>
        <a:solidFill>
          <a:srgbClr val="00B0F0"/>
        </a:solidFill>
      </dgm:spPr>
      <dgm:t>
        <a:bodyPr/>
        <a:lstStyle/>
        <a:p>
          <a:r>
            <a:rPr lang="es-ES" dirty="0" smtClean="0"/>
            <a:t>CIER#1</a:t>
          </a:r>
          <a:endParaRPr lang="es-ES" dirty="0"/>
        </a:p>
      </dgm:t>
    </dgm:pt>
    <dgm:pt modelId="{6EBFF811-3471-409C-8122-507101E0B46F}" type="parTrans" cxnId="{D21F5DE9-B06B-487F-B662-B14E28251875}">
      <dgm:prSet/>
      <dgm:spPr/>
      <dgm:t>
        <a:bodyPr/>
        <a:lstStyle/>
        <a:p>
          <a:endParaRPr lang="es-ES"/>
        </a:p>
      </dgm:t>
    </dgm:pt>
    <dgm:pt modelId="{05071C4F-BB88-4477-ABA1-9D4B1752E653}" type="sibTrans" cxnId="{D21F5DE9-B06B-487F-B662-B14E28251875}">
      <dgm:prSet/>
      <dgm:spPr>
        <a:solidFill>
          <a:schemeClr val="bg1">
            <a:lumMod val="65000"/>
          </a:schemeClr>
        </a:solidFill>
        <a:ln>
          <a:solidFill>
            <a:schemeClr val="tx2">
              <a:lumMod val="20000"/>
              <a:lumOff val="80000"/>
            </a:schemeClr>
          </a:solidFill>
        </a:ln>
      </dgm:spPr>
      <dgm:t>
        <a:bodyPr/>
        <a:lstStyle/>
        <a:p>
          <a:endParaRPr lang="es-ES"/>
        </a:p>
      </dgm:t>
    </dgm:pt>
    <dgm:pt modelId="{FF3B0DF8-9FF8-431F-8845-FD6600970F88}">
      <dgm:prSet phldrT="[Texto]"/>
      <dgm:spPr>
        <a:solidFill>
          <a:srgbClr val="00B0F0"/>
        </a:solidFill>
      </dgm:spPr>
      <dgm:t>
        <a:bodyPr/>
        <a:lstStyle/>
        <a:p>
          <a:r>
            <a:rPr lang="es-ES" dirty="0" smtClean="0"/>
            <a:t>CIER#2</a:t>
          </a:r>
          <a:endParaRPr lang="es-ES" dirty="0"/>
        </a:p>
      </dgm:t>
    </dgm:pt>
    <dgm:pt modelId="{21757159-105F-4A3E-A8D5-675AC4446936}" type="parTrans" cxnId="{8E51CF9D-D616-4E39-B198-989C430D928F}">
      <dgm:prSet/>
      <dgm:spPr/>
      <dgm:t>
        <a:bodyPr/>
        <a:lstStyle/>
        <a:p>
          <a:endParaRPr lang="es-ES"/>
        </a:p>
      </dgm:t>
    </dgm:pt>
    <dgm:pt modelId="{ABAF94F4-782F-44DB-9109-6C96DF8DEC0B}" type="sibTrans" cxnId="{8E51CF9D-D616-4E39-B198-989C430D928F}">
      <dgm:prSet/>
      <dgm:spPr>
        <a:solidFill>
          <a:srgbClr val="A6A6A6"/>
        </a:solidFill>
      </dgm:spPr>
      <dgm:t>
        <a:bodyPr/>
        <a:lstStyle/>
        <a:p>
          <a:endParaRPr lang="es-ES"/>
        </a:p>
      </dgm:t>
    </dgm:pt>
    <dgm:pt modelId="{2A2A3004-E618-4C12-B93B-3336E9CCB003}">
      <dgm:prSet phldrT="[Texto]"/>
      <dgm:spPr>
        <a:solidFill>
          <a:srgbClr val="00B0F0"/>
        </a:solidFill>
      </dgm:spPr>
      <dgm:t>
        <a:bodyPr/>
        <a:lstStyle/>
        <a:p>
          <a:r>
            <a:rPr lang="es-ES" dirty="0" smtClean="0"/>
            <a:t>CIER#3</a:t>
          </a:r>
          <a:endParaRPr lang="es-ES" dirty="0"/>
        </a:p>
      </dgm:t>
    </dgm:pt>
    <dgm:pt modelId="{44811813-1D97-43B9-8295-5B5A9F0F16F5}" type="parTrans" cxnId="{B2597AA9-800F-4AD2-94B0-82B233101063}">
      <dgm:prSet/>
      <dgm:spPr/>
      <dgm:t>
        <a:bodyPr/>
        <a:lstStyle/>
        <a:p>
          <a:endParaRPr lang="es-ES"/>
        </a:p>
      </dgm:t>
    </dgm:pt>
    <dgm:pt modelId="{868C522D-9CE9-4C22-B767-B36F245F1678}" type="sibTrans" cxnId="{B2597AA9-800F-4AD2-94B0-82B233101063}">
      <dgm:prSet/>
      <dgm:spPr>
        <a:solidFill>
          <a:srgbClr val="A6A6A6"/>
        </a:solidFill>
      </dgm:spPr>
      <dgm:t>
        <a:bodyPr/>
        <a:lstStyle/>
        <a:p>
          <a:endParaRPr lang="es-ES"/>
        </a:p>
      </dgm:t>
    </dgm:pt>
    <dgm:pt modelId="{56A8AFC7-FCBB-4AD5-9C22-D552820FD130}">
      <dgm:prSet phldrT="[Texto]"/>
      <dgm:spPr>
        <a:solidFill>
          <a:srgbClr val="00B0F0"/>
        </a:solidFill>
      </dgm:spPr>
      <dgm:t>
        <a:bodyPr/>
        <a:lstStyle/>
        <a:p>
          <a:r>
            <a:rPr lang="es-ES" dirty="0" smtClean="0"/>
            <a:t>CIER#4</a:t>
          </a:r>
          <a:endParaRPr lang="es-ES" dirty="0"/>
        </a:p>
      </dgm:t>
    </dgm:pt>
    <dgm:pt modelId="{FF8F111A-9492-4260-A561-ED3BA065CD42}" type="parTrans" cxnId="{5E045E5D-8C4D-47B5-92F6-E5E191372546}">
      <dgm:prSet/>
      <dgm:spPr/>
      <dgm:t>
        <a:bodyPr/>
        <a:lstStyle/>
        <a:p>
          <a:endParaRPr lang="es-ES"/>
        </a:p>
      </dgm:t>
    </dgm:pt>
    <dgm:pt modelId="{EAECA80A-427B-4EBF-9C72-7BF76EF9A09E}" type="sibTrans" cxnId="{5E045E5D-8C4D-47B5-92F6-E5E191372546}">
      <dgm:prSet/>
      <dgm:spPr>
        <a:solidFill>
          <a:srgbClr val="A6A6A6"/>
        </a:solidFill>
      </dgm:spPr>
      <dgm:t>
        <a:bodyPr/>
        <a:lstStyle/>
        <a:p>
          <a:endParaRPr lang="es-ES"/>
        </a:p>
      </dgm:t>
    </dgm:pt>
    <dgm:pt modelId="{B763A46B-644A-47E4-AE59-F456330FC3AD}">
      <dgm:prSet phldrT="[Texto]"/>
      <dgm:spPr>
        <a:solidFill>
          <a:srgbClr val="00B0F0"/>
        </a:solidFill>
      </dgm:spPr>
      <dgm:t>
        <a:bodyPr/>
        <a:lstStyle/>
        <a:p>
          <a:r>
            <a:rPr lang="es-ES" dirty="0" smtClean="0"/>
            <a:t>CIER#5</a:t>
          </a:r>
          <a:endParaRPr lang="es-ES" dirty="0"/>
        </a:p>
      </dgm:t>
    </dgm:pt>
    <dgm:pt modelId="{D03F9E3F-F09C-40B9-8B06-D2B045A4D2FA}" type="parTrans" cxnId="{BFE2FDC9-00B5-4F9A-8745-9A8DDC6D8DE0}">
      <dgm:prSet/>
      <dgm:spPr/>
      <dgm:t>
        <a:bodyPr/>
        <a:lstStyle/>
        <a:p>
          <a:endParaRPr lang="es-ES"/>
        </a:p>
      </dgm:t>
    </dgm:pt>
    <dgm:pt modelId="{D2BC1946-1B09-479E-A867-AA0A0957D215}" type="sibTrans" cxnId="{BFE2FDC9-00B5-4F9A-8745-9A8DDC6D8DE0}">
      <dgm:prSet/>
      <dgm:spPr>
        <a:solidFill>
          <a:srgbClr val="A6A6A6"/>
        </a:solidFill>
      </dgm:spPr>
      <dgm:t>
        <a:bodyPr/>
        <a:lstStyle/>
        <a:p>
          <a:endParaRPr lang="es-ES"/>
        </a:p>
      </dgm:t>
    </dgm:pt>
    <dgm:pt modelId="{35E77D11-ACB8-4A03-B00F-43E653A537DE}" type="pres">
      <dgm:prSet presAssocID="{B961DBEA-74E9-4506-926E-4A5AA758366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04230AF-19EF-4218-9490-7DA1C6D58FFD}" type="pres">
      <dgm:prSet presAssocID="{ED1A7A74-A97B-4EB6-A3B5-A88B7C1518EC}" presName="centerShape" presStyleLbl="node0" presStyleIdx="0" presStyleCnt="1"/>
      <dgm:spPr/>
      <dgm:t>
        <a:bodyPr/>
        <a:lstStyle/>
        <a:p>
          <a:endParaRPr lang="es-ES"/>
        </a:p>
      </dgm:t>
    </dgm:pt>
    <dgm:pt modelId="{D6C184A8-C088-4D28-AF25-BDC6F16587BB}" type="pres">
      <dgm:prSet presAssocID="{26765DD3-EDF5-4930-ADD3-80DE3BE70B72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423DF6-EA22-4742-BBC1-C5C011A0F0AD}" type="pres">
      <dgm:prSet presAssocID="{26765DD3-EDF5-4930-ADD3-80DE3BE70B72}" presName="dummy" presStyleCnt="0"/>
      <dgm:spPr/>
    </dgm:pt>
    <dgm:pt modelId="{33EF0CD0-5B1C-4DE8-B3AB-486AECF653B1}" type="pres">
      <dgm:prSet presAssocID="{05071C4F-BB88-4477-ABA1-9D4B1752E653}" presName="sibTrans" presStyleLbl="sibTrans2D1" presStyleIdx="0" presStyleCnt="5"/>
      <dgm:spPr/>
      <dgm:t>
        <a:bodyPr/>
        <a:lstStyle/>
        <a:p>
          <a:endParaRPr lang="en-US"/>
        </a:p>
      </dgm:t>
    </dgm:pt>
    <dgm:pt modelId="{74A967A5-9FCF-40CB-9BD8-CA38B4CA2B36}" type="pres">
      <dgm:prSet presAssocID="{FF3B0DF8-9FF8-431F-8845-FD6600970F88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F99CED-3C89-44F1-8D18-1BD6958AC683}" type="pres">
      <dgm:prSet presAssocID="{FF3B0DF8-9FF8-431F-8845-FD6600970F88}" presName="dummy" presStyleCnt="0"/>
      <dgm:spPr/>
    </dgm:pt>
    <dgm:pt modelId="{A4DDEFAA-7662-43FE-9169-95647A1825BF}" type="pres">
      <dgm:prSet presAssocID="{ABAF94F4-782F-44DB-9109-6C96DF8DEC0B}" presName="sibTrans" presStyleLbl="sibTrans2D1" presStyleIdx="1" presStyleCnt="5"/>
      <dgm:spPr/>
      <dgm:t>
        <a:bodyPr/>
        <a:lstStyle/>
        <a:p>
          <a:endParaRPr lang="en-US"/>
        </a:p>
      </dgm:t>
    </dgm:pt>
    <dgm:pt modelId="{E47AE497-BA30-41AD-89F7-8CA5DA99E3CC}" type="pres">
      <dgm:prSet presAssocID="{2A2A3004-E618-4C12-B93B-3336E9CCB003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53930D-56A5-4D6F-96A4-47CB118BE7ED}" type="pres">
      <dgm:prSet presAssocID="{2A2A3004-E618-4C12-B93B-3336E9CCB003}" presName="dummy" presStyleCnt="0"/>
      <dgm:spPr/>
    </dgm:pt>
    <dgm:pt modelId="{DC6D88DA-A7B3-48DA-81D7-E2B79213F587}" type="pres">
      <dgm:prSet presAssocID="{868C522D-9CE9-4C22-B767-B36F245F1678}" presName="sibTrans" presStyleLbl="sibTrans2D1" presStyleIdx="2" presStyleCnt="5"/>
      <dgm:spPr/>
      <dgm:t>
        <a:bodyPr/>
        <a:lstStyle/>
        <a:p>
          <a:endParaRPr lang="en-US"/>
        </a:p>
      </dgm:t>
    </dgm:pt>
    <dgm:pt modelId="{14C12537-87AB-42DE-8A55-31A2B122E14F}" type="pres">
      <dgm:prSet presAssocID="{56A8AFC7-FCBB-4AD5-9C22-D552820FD13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3564CC-0C80-4664-B323-547EEDC153E4}" type="pres">
      <dgm:prSet presAssocID="{56A8AFC7-FCBB-4AD5-9C22-D552820FD130}" presName="dummy" presStyleCnt="0"/>
      <dgm:spPr/>
    </dgm:pt>
    <dgm:pt modelId="{28521DA7-88A1-4D1E-802F-66CAE025223D}" type="pres">
      <dgm:prSet presAssocID="{EAECA80A-427B-4EBF-9C72-7BF76EF9A09E}" presName="sibTrans" presStyleLbl="sibTrans2D1" presStyleIdx="3" presStyleCnt="5"/>
      <dgm:spPr/>
      <dgm:t>
        <a:bodyPr/>
        <a:lstStyle/>
        <a:p>
          <a:endParaRPr lang="en-US"/>
        </a:p>
      </dgm:t>
    </dgm:pt>
    <dgm:pt modelId="{F00B0DB6-6242-464E-84DD-2EA788FFD048}" type="pres">
      <dgm:prSet presAssocID="{B763A46B-644A-47E4-AE59-F456330FC3A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471656-7C44-48D5-91B2-6DBCFA852D4C}" type="pres">
      <dgm:prSet presAssocID="{B763A46B-644A-47E4-AE59-F456330FC3AD}" presName="dummy" presStyleCnt="0"/>
      <dgm:spPr/>
    </dgm:pt>
    <dgm:pt modelId="{14174B41-0BE0-4F8B-BA8E-D58F170EAA12}" type="pres">
      <dgm:prSet presAssocID="{D2BC1946-1B09-479E-A867-AA0A0957D215}" presName="sibTrans" presStyleLbl="sibTrans2D1" presStyleIdx="4" presStyleCnt="5"/>
      <dgm:spPr/>
      <dgm:t>
        <a:bodyPr/>
        <a:lstStyle/>
        <a:p>
          <a:endParaRPr lang="en-US"/>
        </a:p>
      </dgm:t>
    </dgm:pt>
  </dgm:ptLst>
  <dgm:cxnLst>
    <dgm:cxn modelId="{4CB0A243-BE3B-7C45-AC33-D5AF570FDE67}" type="presOf" srcId="{05071C4F-BB88-4477-ABA1-9D4B1752E653}" destId="{33EF0CD0-5B1C-4DE8-B3AB-486AECF653B1}" srcOrd="0" destOrd="0" presId="urn:microsoft.com/office/officeart/2005/8/layout/radial6"/>
    <dgm:cxn modelId="{F03D8A7D-65B7-2D49-9987-11D67D4FA02C}" type="presOf" srcId="{EAECA80A-427B-4EBF-9C72-7BF76EF9A09E}" destId="{28521DA7-88A1-4D1E-802F-66CAE025223D}" srcOrd="0" destOrd="0" presId="urn:microsoft.com/office/officeart/2005/8/layout/radial6"/>
    <dgm:cxn modelId="{4CE3497F-9C60-2648-99C2-E0A461B5BFD8}" type="presOf" srcId="{B961DBEA-74E9-4506-926E-4A5AA7583668}" destId="{35E77D11-ACB8-4A03-B00F-43E653A537DE}" srcOrd="0" destOrd="0" presId="urn:microsoft.com/office/officeart/2005/8/layout/radial6"/>
    <dgm:cxn modelId="{8BF44AEF-5325-714C-89E6-E93E576D130E}" type="presOf" srcId="{B763A46B-644A-47E4-AE59-F456330FC3AD}" destId="{F00B0DB6-6242-464E-84DD-2EA788FFD048}" srcOrd="0" destOrd="0" presId="urn:microsoft.com/office/officeart/2005/8/layout/radial6"/>
    <dgm:cxn modelId="{A8F3CD2A-341D-3F46-AFA8-492DEC470262}" type="presOf" srcId="{26765DD3-EDF5-4930-ADD3-80DE3BE70B72}" destId="{D6C184A8-C088-4D28-AF25-BDC6F16587BB}" srcOrd="0" destOrd="0" presId="urn:microsoft.com/office/officeart/2005/8/layout/radial6"/>
    <dgm:cxn modelId="{8E51CF9D-D616-4E39-B198-989C430D928F}" srcId="{ED1A7A74-A97B-4EB6-A3B5-A88B7C1518EC}" destId="{FF3B0DF8-9FF8-431F-8845-FD6600970F88}" srcOrd="1" destOrd="0" parTransId="{21757159-105F-4A3E-A8D5-675AC4446936}" sibTransId="{ABAF94F4-782F-44DB-9109-6C96DF8DEC0B}"/>
    <dgm:cxn modelId="{BFE2FDC9-00B5-4F9A-8745-9A8DDC6D8DE0}" srcId="{ED1A7A74-A97B-4EB6-A3B5-A88B7C1518EC}" destId="{B763A46B-644A-47E4-AE59-F456330FC3AD}" srcOrd="4" destOrd="0" parTransId="{D03F9E3F-F09C-40B9-8B06-D2B045A4D2FA}" sibTransId="{D2BC1946-1B09-479E-A867-AA0A0957D215}"/>
    <dgm:cxn modelId="{3CAE5292-4AB9-BC4E-9103-4AF13D2DFC70}" type="presOf" srcId="{ABAF94F4-782F-44DB-9109-6C96DF8DEC0B}" destId="{A4DDEFAA-7662-43FE-9169-95647A1825BF}" srcOrd="0" destOrd="0" presId="urn:microsoft.com/office/officeart/2005/8/layout/radial6"/>
    <dgm:cxn modelId="{B2597AA9-800F-4AD2-94B0-82B233101063}" srcId="{ED1A7A74-A97B-4EB6-A3B5-A88B7C1518EC}" destId="{2A2A3004-E618-4C12-B93B-3336E9CCB003}" srcOrd="2" destOrd="0" parTransId="{44811813-1D97-43B9-8295-5B5A9F0F16F5}" sibTransId="{868C522D-9CE9-4C22-B767-B36F245F1678}"/>
    <dgm:cxn modelId="{B365FD42-32EC-614F-9A1F-2D4AB8E14B1D}" type="presOf" srcId="{FF3B0DF8-9FF8-431F-8845-FD6600970F88}" destId="{74A967A5-9FCF-40CB-9BD8-CA38B4CA2B36}" srcOrd="0" destOrd="0" presId="urn:microsoft.com/office/officeart/2005/8/layout/radial6"/>
    <dgm:cxn modelId="{34107D21-8E0A-439F-8625-783C6646C429}" srcId="{B961DBEA-74E9-4506-926E-4A5AA7583668}" destId="{ED1A7A74-A97B-4EB6-A3B5-A88B7C1518EC}" srcOrd="0" destOrd="0" parTransId="{77677568-B9AD-443E-A461-F0C6788415FE}" sibTransId="{DB2067A6-321D-48B0-B69F-6667ACE2BD78}"/>
    <dgm:cxn modelId="{5E045E5D-8C4D-47B5-92F6-E5E191372546}" srcId="{ED1A7A74-A97B-4EB6-A3B5-A88B7C1518EC}" destId="{56A8AFC7-FCBB-4AD5-9C22-D552820FD130}" srcOrd="3" destOrd="0" parTransId="{FF8F111A-9492-4260-A561-ED3BA065CD42}" sibTransId="{EAECA80A-427B-4EBF-9C72-7BF76EF9A09E}"/>
    <dgm:cxn modelId="{DA15FC7A-0A23-BF40-849D-B6D38A5970E3}" type="presOf" srcId="{ED1A7A74-A97B-4EB6-A3B5-A88B7C1518EC}" destId="{C04230AF-19EF-4218-9490-7DA1C6D58FFD}" srcOrd="0" destOrd="0" presId="urn:microsoft.com/office/officeart/2005/8/layout/radial6"/>
    <dgm:cxn modelId="{8742ABDD-CDB7-CC47-99C1-7E624E267A39}" type="presOf" srcId="{868C522D-9CE9-4C22-B767-B36F245F1678}" destId="{DC6D88DA-A7B3-48DA-81D7-E2B79213F587}" srcOrd="0" destOrd="0" presId="urn:microsoft.com/office/officeart/2005/8/layout/radial6"/>
    <dgm:cxn modelId="{CBFD13A0-15E0-E641-87DC-CF22F1676772}" type="presOf" srcId="{56A8AFC7-FCBB-4AD5-9C22-D552820FD130}" destId="{14C12537-87AB-42DE-8A55-31A2B122E14F}" srcOrd="0" destOrd="0" presId="urn:microsoft.com/office/officeart/2005/8/layout/radial6"/>
    <dgm:cxn modelId="{6701C1D4-6795-7B42-B03C-A12CBF714508}" type="presOf" srcId="{D2BC1946-1B09-479E-A867-AA0A0957D215}" destId="{14174B41-0BE0-4F8B-BA8E-D58F170EAA12}" srcOrd="0" destOrd="0" presId="urn:microsoft.com/office/officeart/2005/8/layout/radial6"/>
    <dgm:cxn modelId="{17267479-B2CD-E249-AA1E-93F36F172800}" type="presOf" srcId="{2A2A3004-E618-4C12-B93B-3336E9CCB003}" destId="{E47AE497-BA30-41AD-89F7-8CA5DA99E3CC}" srcOrd="0" destOrd="0" presId="urn:microsoft.com/office/officeart/2005/8/layout/radial6"/>
    <dgm:cxn modelId="{D21F5DE9-B06B-487F-B662-B14E28251875}" srcId="{ED1A7A74-A97B-4EB6-A3B5-A88B7C1518EC}" destId="{26765DD3-EDF5-4930-ADD3-80DE3BE70B72}" srcOrd="0" destOrd="0" parTransId="{6EBFF811-3471-409C-8122-507101E0B46F}" sibTransId="{05071C4F-BB88-4477-ABA1-9D4B1752E653}"/>
    <dgm:cxn modelId="{B2ECE139-EACA-8B43-ABFB-CE4DAF78FA67}" type="presParOf" srcId="{35E77D11-ACB8-4A03-B00F-43E653A537DE}" destId="{C04230AF-19EF-4218-9490-7DA1C6D58FFD}" srcOrd="0" destOrd="0" presId="urn:microsoft.com/office/officeart/2005/8/layout/radial6"/>
    <dgm:cxn modelId="{F5FA1632-3F10-4B40-85F3-AC042F618CB6}" type="presParOf" srcId="{35E77D11-ACB8-4A03-B00F-43E653A537DE}" destId="{D6C184A8-C088-4D28-AF25-BDC6F16587BB}" srcOrd="1" destOrd="0" presId="urn:microsoft.com/office/officeart/2005/8/layout/radial6"/>
    <dgm:cxn modelId="{441117D4-D429-6243-ABDC-5F957113C12F}" type="presParOf" srcId="{35E77D11-ACB8-4A03-B00F-43E653A537DE}" destId="{A9423DF6-EA22-4742-BBC1-C5C011A0F0AD}" srcOrd="2" destOrd="0" presId="urn:microsoft.com/office/officeart/2005/8/layout/radial6"/>
    <dgm:cxn modelId="{C67496C6-5A38-1C48-9589-EE440A60296C}" type="presParOf" srcId="{35E77D11-ACB8-4A03-B00F-43E653A537DE}" destId="{33EF0CD0-5B1C-4DE8-B3AB-486AECF653B1}" srcOrd="3" destOrd="0" presId="urn:microsoft.com/office/officeart/2005/8/layout/radial6"/>
    <dgm:cxn modelId="{9FB77D53-CDA7-2542-9578-91544BDCB275}" type="presParOf" srcId="{35E77D11-ACB8-4A03-B00F-43E653A537DE}" destId="{74A967A5-9FCF-40CB-9BD8-CA38B4CA2B36}" srcOrd="4" destOrd="0" presId="urn:microsoft.com/office/officeart/2005/8/layout/radial6"/>
    <dgm:cxn modelId="{B4B8E1F5-A661-C148-8B38-681E108498D2}" type="presParOf" srcId="{35E77D11-ACB8-4A03-B00F-43E653A537DE}" destId="{DFF99CED-3C89-44F1-8D18-1BD6958AC683}" srcOrd="5" destOrd="0" presId="urn:microsoft.com/office/officeart/2005/8/layout/radial6"/>
    <dgm:cxn modelId="{238AAD61-6C42-C44D-8B32-7FB35003D087}" type="presParOf" srcId="{35E77D11-ACB8-4A03-B00F-43E653A537DE}" destId="{A4DDEFAA-7662-43FE-9169-95647A1825BF}" srcOrd="6" destOrd="0" presId="urn:microsoft.com/office/officeart/2005/8/layout/radial6"/>
    <dgm:cxn modelId="{009600FB-A7EE-9E49-B020-FEB63CD43CEC}" type="presParOf" srcId="{35E77D11-ACB8-4A03-B00F-43E653A537DE}" destId="{E47AE497-BA30-41AD-89F7-8CA5DA99E3CC}" srcOrd="7" destOrd="0" presId="urn:microsoft.com/office/officeart/2005/8/layout/radial6"/>
    <dgm:cxn modelId="{D4C9C42C-00A2-A345-B8F1-9DC39FBB7E25}" type="presParOf" srcId="{35E77D11-ACB8-4A03-B00F-43E653A537DE}" destId="{9453930D-56A5-4D6F-96A4-47CB118BE7ED}" srcOrd="8" destOrd="0" presId="urn:microsoft.com/office/officeart/2005/8/layout/radial6"/>
    <dgm:cxn modelId="{B550E4B6-1472-CF41-9509-0519E594E710}" type="presParOf" srcId="{35E77D11-ACB8-4A03-B00F-43E653A537DE}" destId="{DC6D88DA-A7B3-48DA-81D7-E2B79213F587}" srcOrd="9" destOrd="0" presId="urn:microsoft.com/office/officeart/2005/8/layout/radial6"/>
    <dgm:cxn modelId="{3A479D23-7C97-2244-AEB9-53A7C97E4EC4}" type="presParOf" srcId="{35E77D11-ACB8-4A03-B00F-43E653A537DE}" destId="{14C12537-87AB-42DE-8A55-31A2B122E14F}" srcOrd="10" destOrd="0" presId="urn:microsoft.com/office/officeart/2005/8/layout/radial6"/>
    <dgm:cxn modelId="{5DE2CB6E-CFC5-FE43-90C5-31E8191261F0}" type="presParOf" srcId="{35E77D11-ACB8-4A03-B00F-43E653A537DE}" destId="{C43564CC-0C80-4664-B323-547EEDC153E4}" srcOrd="11" destOrd="0" presId="urn:microsoft.com/office/officeart/2005/8/layout/radial6"/>
    <dgm:cxn modelId="{B7822909-8EE9-EE43-BC9B-7466E95527B8}" type="presParOf" srcId="{35E77D11-ACB8-4A03-B00F-43E653A537DE}" destId="{28521DA7-88A1-4D1E-802F-66CAE025223D}" srcOrd="12" destOrd="0" presId="urn:microsoft.com/office/officeart/2005/8/layout/radial6"/>
    <dgm:cxn modelId="{AAEEFD3F-5769-4E4C-BEB6-CE4E11D49B3D}" type="presParOf" srcId="{35E77D11-ACB8-4A03-B00F-43E653A537DE}" destId="{F00B0DB6-6242-464E-84DD-2EA788FFD048}" srcOrd="13" destOrd="0" presId="urn:microsoft.com/office/officeart/2005/8/layout/radial6"/>
    <dgm:cxn modelId="{C8DD71F9-CDC7-6245-96DC-001D66776AA4}" type="presParOf" srcId="{35E77D11-ACB8-4A03-B00F-43E653A537DE}" destId="{B8471656-7C44-48D5-91B2-6DBCFA852D4C}" srcOrd="14" destOrd="0" presId="urn:microsoft.com/office/officeart/2005/8/layout/radial6"/>
    <dgm:cxn modelId="{406CDBEA-9F5D-1C49-AE83-D90E7CCB0B4C}" type="presParOf" srcId="{35E77D11-ACB8-4A03-B00F-43E653A537DE}" destId="{14174B41-0BE0-4F8B-BA8E-D58F170EAA12}" srcOrd="15" destOrd="0" presId="urn:microsoft.com/office/officeart/2005/8/layout/radial6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2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B259E11-2FB0-2043-AF96-B0B2C422071E}" type="doc">
      <dgm:prSet loTypeId="urn:microsoft.com/office/officeart/2005/8/layout/vList5" loCatId="" qsTypeId="urn:microsoft.com/office/officeart/2005/8/quickstyle/3D1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0C28C03B-C958-D743-A927-DEA1299BF79B}">
      <dgm:prSet phldrT="[Texto]"/>
      <dgm:spPr/>
      <dgm:t>
        <a:bodyPr/>
        <a:lstStyle/>
        <a:p>
          <a:r>
            <a:rPr lang="es-ES" dirty="0" smtClean="0"/>
            <a:t>Objetivo</a:t>
          </a:r>
          <a:endParaRPr lang="es-ES" dirty="0"/>
        </a:p>
      </dgm:t>
    </dgm:pt>
    <dgm:pt modelId="{1AE5FFF5-4DC5-5544-BAF5-6874F05E82E3}" type="parTrans" cxnId="{BDF37756-9ECA-694B-9030-C807861E22D4}">
      <dgm:prSet/>
      <dgm:spPr/>
      <dgm:t>
        <a:bodyPr/>
        <a:lstStyle/>
        <a:p>
          <a:endParaRPr lang="es-ES"/>
        </a:p>
      </dgm:t>
    </dgm:pt>
    <dgm:pt modelId="{1BC29DA6-4E62-7849-9051-2F2807505588}" type="sibTrans" cxnId="{BDF37756-9ECA-694B-9030-C807861E22D4}">
      <dgm:prSet/>
      <dgm:spPr/>
      <dgm:t>
        <a:bodyPr/>
        <a:lstStyle/>
        <a:p>
          <a:endParaRPr lang="es-ES"/>
        </a:p>
      </dgm:t>
    </dgm:pt>
    <dgm:pt modelId="{4FB9F160-F442-884E-89F9-1DF3F36D4D75}">
      <dgm:prSet phldrT="[Texto]" custT="1"/>
      <dgm:spPr/>
      <dgm:t>
        <a:bodyPr/>
        <a:lstStyle/>
        <a:p>
          <a:pPr algn="just"/>
          <a:r>
            <a:rPr lang="es-ES_tradnl" sz="1400" dirty="0" smtClean="0"/>
            <a:t>Fortalecer las competencias tecnológicas, pedagógicas, investigativas, comunicativas y de gestión de los docentes promoviendo prácticas educativas innovadoras</a:t>
          </a:r>
          <a:r>
            <a:rPr lang="es-ES_tradnl" sz="1300" dirty="0" smtClean="0"/>
            <a:t>. </a:t>
          </a:r>
          <a:endParaRPr lang="es-ES" sz="1300" dirty="0"/>
        </a:p>
      </dgm:t>
    </dgm:pt>
    <dgm:pt modelId="{FA5A9B9E-3EB1-7448-8AAD-6270472C9A69}" type="parTrans" cxnId="{0E54BCAA-C9C1-7B45-AC3B-3FDA34FDB38B}">
      <dgm:prSet/>
      <dgm:spPr/>
      <dgm:t>
        <a:bodyPr/>
        <a:lstStyle/>
        <a:p>
          <a:endParaRPr lang="es-ES"/>
        </a:p>
      </dgm:t>
    </dgm:pt>
    <dgm:pt modelId="{C5CC2BB6-B36D-9F49-87B3-E81B75C11CEB}" type="sibTrans" cxnId="{0E54BCAA-C9C1-7B45-AC3B-3FDA34FDB38B}">
      <dgm:prSet/>
      <dgm:spPr/>
      <dgm:t>
        <a:bodyPr/>
        <a:lstStyle/>
        <a:p>
          <a:endParaRPr lang="es-ES"/>
        </a:p>
      </dgm:t>
    </dgm:pt>
    <dgm:pt modelId="{4A7CA740-67CF-F14E-8C5A-77D9EA05D91F}">
      <dgm:prSet phldrT="[Texto]"/>
      <dgm:spPr/>
      <dgm:t>
        <a:bodyPr/>
        <a:lstStyle/>
        <a:p>
          <a:r>
            <a:rPr lang="es-ES" dirty="0" smtClean="0"/>
            <a:t>Metas</a:t>
          </a:r>
          <a:endParaRPr lang="es-ES" dirty="0"/>
        </a:p>
      </dgm:t>
    </dgm:pt>
    <dgm:pt modelId="{34184003-49B0-3D4F-94DC-5D859529EBE3}" type="parTrans" cxnId="{F5D56FA8-0D60-DF44-957D-21F903D4B54D}">
      <dgm:prSet/>
      <dgm:spPr/>
      <dgm:t>
        <a:bodyPr/>
        <a:lstStyle/>
        <a:p>
          <a:endParaRPr lang="es-ES"/>
        </a:p>
      </dgm:t>
    </dgm:pt>
    <dgm:pt modelId="{281A21F0-C35B-4944-9215-B4822727688B}" type="sibTrans" cxnId="{F5D56FA8-0D60-DF44-957D-21F903D4B54D}">
      <dgm:prSet/>
      <dgm:spPr/>
      <dgm:t>
        <a:bodyPr/>
        <a:lstStyle/>
        <a:p>
          <a:endParaRPr lang="es-ES"/>
        </a:p>
      </dgm:t>
    </dgm:pt>
    <dgm:pt modelId="{0969BDE8-0B50-1E4F-A2D6-D2D18F1363EF}">
      <dgm:prSet phldrT="[Texto]" custT="1"/>
      <dgm:spPr/>
      <dgm:t>
        <a:bodyPr/>
        <a:lstStyle/>
        <a:p>
          <a:pPr algn="l"/>
          <a:r>
            <a:rPr lang="es-ES" sz="1400" dirty="0" smtClean="0"/>
            <a:t>CIER Norte: 3000 docentes</a:t>
          </a:r>
          <a:endParaRPr lang="es-ES" sz="1400" dirty="0"/>
        </a:p>
      </dgm:t>
    </dgm:pt>
    <dgm:pt modelId="{AB49D10C-B14B-3F45-8385-A75EED661E73}" type="parTrans" cxnId="{79EF558F-CCE8-BD4A-918F-1B938919EE1C}">
      <dgm:prSet/>
      <dgm:spPr/>
      <dgm:t>
        <a:bodyPr/>
        <a:lstStyle/>
        <a:p>
          <a:endParaRPr lang="es-ES"/>
        </a:p>
      </dgm:t>
    </dgm:pt>
    <dgm:pt modelId="{7A386109-12D0-754B-8A2C-58233BFBF33F}" type="sibTrans" cxnId="{79EF558F-CCE8-BD4A-918F-1B938919EE1C}">
      <dgm:prSet/>
      <dgm:spPr/>
      <dgm:t>
        <a:bodyPr/>
        <a:lstStyle/>
        <a:p>
          <a:endParaRPr lang="es-ES"/>
        </a:p>
      </dgm:t>
    </dgm:pt>
    <dgm:pt modelId="{AA1B35B9-DF4C-DC41-AFEC-27CF292609E7}">
      <dgm:prSet phldrT="[Texto]" custT="1"/>
      <dgm:spPr/>
      <dgm:t>
        <a:bodyPr/>
        <a:lstStyle/>
        <a:p>
          <a:pPr algn="l"/>
          <a:r>
            <a:rPr lang="es-ES" sz="1400" dirty="0" smtClean="0"/>
            <a:t>CIER Centro: 4000 docentes</a:t>
          </a:r>
          <a:endParaRPr lang="es-ES" sz="1400" dirty="0"/>
        </a:p>
      </dgm:t>
    </dgm:pt>
    <dgm:pt modelId="{74F9AC42-C970-D544-9B54-8EC7C0C0A115}" type="parTrans" cxnId="{AB0ED026-D6C9-D546-8677-919481A1CBBF}">
      <dgm:prSet/>
      <dgm:spPr/>
      <dgm:t>
        <a:bodyPr/>
        <a:lstStyle/>
        <a:p>
          <a:endParaRPr lang="es-ES"/>
        </a:p>
      </dgm:t>
    </dgm:pt>
    <dgm:pt modelId="{4DC32FB2-C8CE-584E-AF6F-D7E7AC52D9E6}" type="sibTrans" cxnId="{AB0ED026-D6C9-D546-8677-919481A1CBBF}">
      <dgm:prSet/>
      <dgm:spPr/>
      <dgm:t>
        <a:bodyPr/>
        <a:lstStyle/>
        <a:p>
          <a:endParaRPr lang="es-ES"/>
        </a:p>
      </dgm:t>
    </dgm:pt>
    <dgm:pt modelId="{D0B805E7-29D4-A541-8D33-1CCA5FCC985D}">
      <dgm:prSet phldrT="[Texto]"/>
      <dgm:spPr/>
      <dgm:t>
        <a:bodyPr/>
        <a:lstStyle/>
        <a:p>
          <a:r>
            <a:rPr lang="es-ES" dirty="0" smtClean="0"/>
            <a:t>Productos</a:t>
          </a:r>
          <a:endParaRPr lang="es-ES" dirty="0"/>
        </a:p>
      </dgm:t>
    </dgm:pt>
    <dgm:pt modelId="{ADF8F5C4-AF76-1D4E-802B-F5A6CF3A5FD2}" type="parTrans" cxnId="{BCDFE26F-3ACD-4E40-9F25-073458A7E809}">
      <dgm:prSet/>
      <dgm:spPr/>
      <dgm:t>
        <a:bodyPr/>
        <a:lstStyle/>
        <a:p>
          <a:endParaRPr lang="es-ES"/>
        </a:p>
      </dgm:t>
    </dgm:pt>
    <dgm:pt modelId="{596BCE9D-E727-1842-9CB5-55B284CF8A86}" type="sibTrans" cxnId="{BCDFE26F-3ACD-4E40-9F25-073458A7E809}">
      <dgm:prSet/>
      <dgm:spPr/>
      <dgm:t>
        <a:bodyPr/>
        <a:lstStyle/>
        <a:p>
          <a:endParaRPr lang="es-ES"/>
        </a:p>
      </dgm:t>
    </dgm:pt>
    <dgm:pt modelId="{5755A424-9539-A84E-A719-76A427C238A3}">
      <dgm:prSet phldrT="[Texto]"/>
      <dgm:spPr/>
      <dgm:t>
        <a:bodyPr/>
        <a:lstStyle/>
        <a:p>
          <a:r>
            <a:rPr lang="es-ES" dirty="0" smtClean="0"/>
            <a:t>Durante el proceso de formación cada docente producirá: </a:t>
          </a:r>
          <a:endParaRPr lang="es-ES" dirty="0"/>
        </a:p>
      </dgm:t>
    </dgm:pt>
    <dgm:pt modelId="{024345DB-2306-F84B-BB4E-439646EB4EE6}" type="parTrans" cxnId="{66B72ED8-46F1-5A4D-BB52-CDCA0F047B4B}">
      <dgm:prSet/>
      <dgm:spPr/>
      <dgm:t>
        <a:bodyPr/>
        <a:lstStyle/>
        <a:p>
          <a:endParaRPr lang="es-ES"/>
        </a:p>
      </dgm:t>
    </dgm:pt>
    <dgm:pt modelId="{610A5424-AC32-504E-A54A-CD743DE8B823}" type="sibTrans" cxnId="{66B72ED8-46F1-5A4D-BB52-CDCA0F047B4B}">
      <dgm:prSet/>
      <dgm:spPr/>
      <dgm:t>
        <a:bodyPr/>
        <a:lstStyle/>
        <a:p>
          <a:endParaRPr lang="es-ES"/>
        </a:p>
      </dgm:t>
    </dgm:pt>
    <dgm:pt modelId="{AF5681E8-4C62-8F4E-80AD-E014AD2939A1}">
      <dgm:prSet phldrT="[Texto]" custT="1"/>
      <dgm:spPr/>
      <dgm:t>
        <a:bodyPr/>
        <a:lstStyle/>
        <a:p>
          <a:pPr algn="l"/>
          <a:r>
            <a:rPr lang="es-ES" sz="1400" dirty="0" smtClean="0"/>
            <a:t>CIER Sur:3000 docentes</a:t>
          </a:r>
          <a:endParaRPr lang="es-ES" sz="1400" dirty="0"/>
        </a:p>
      </dgm:t>
    </dgm:pt>
    <dgm:pt modelId="{9D6F167C-E1C3-254D-8210-69AB79A0E979}" type="parTrans" cxnId="{A3040331-386A-E542-AA76-FCCED1493641}">
      <dgm:prSet/>
      <dgm:spPr/>
      <dgm:t>
        <a:bodyPr/>
        <a:lstStyle/>
        <a:p>
          <a:endParaRPr lang="es-ES"/>
        </a:p>
      </dgm:t>
    </dgm:pt>
    <dgm:pt modelId="{A05D6606-C0F7-FE49-96E8-002AD1C2636D}" type="sibTrans" cxnId="{A3040331-386A-E542-AA76-FCCED1493641}">
      <dgm:prSet/>
      <dgm:spPr/>
      <dgm:t>
        <a:bodyPr/>
        <a:lstStyle/>
        <a:p>
          <a:endParaRPr lang="es-ES"/>
        </a:p>
      </dgm:t>
    </dgm:pt>
    <dgm:pt modelId="{16AC7450-6630-4345-9D3E-892BE2E46CFB}">
      <dgm:prSet phldrT="[Texto]" custT="1"/>
      <dgm:spPr/>
      <dgm:t>
        <a:bodyPr/>
        <a:lstStyle/>
        <a:p>
          <a:pPr algn="l"/>
          <a:r>
            <a:rPr lang="es-ES" sz="1400" dirty="0" smtClean="0"/>
            <a:t>CIER Oriente: 3000 docentes</a:t>
          </a:r>
          <a:endParaRPr lang="es-ES" sz="1400" dirty="0"/>
        </a:p>
      </dgm:t>
    </dgm:pt>
    <dgm:pt modelId="{2F7C1E4B-90E2-E64E-87F8-C882318574A6}" type="parTrans" cxnId="{27DCB809-002A-FC48-8967-1206C1D7720C}">
      <dgm:prSet/>
      <dgm:spPr/>
      <dgm:t>
        <a:bodyPr/>
        <a:lstStyle/>
        <a:p>
          <a:endParaRPr lang="es-ES"/>
        </a:p>
      </dgm:t>
    </dgm:pt>
    <dgm:pt modelId="{AD09257E-2814-4E48-8F78-8C782FDAB2BB}" type="sibTrans" cxnId="{27DCB809-002A-FC48-8967-1206C1D7720C}">
      <dgm:prSet/>
      <dgm:spPr/>
      <dgm:t>
        <a:bodyPr/>
        <a:lstStyle/>
        <a:p>
          <a:endParaRPr lang="es-ES"/>
        </a:p>
      </dgm:t>
    </dgm:pt>
    <dgm:pt modelId="{CC6869E4-5C81-804D-A8F0-4781712A32F7}">
      <dgm:prSet phldrT="[Texto]" custT="1"/>
      <dgm:spPr/>
      <dgm:t>
        <a:bodyPr/>
        <a:lstStyle/>
        <a:p>
          <a:pPr algn="just"/>
          <a:r>
            <a:rPr lang="es-ES" sz="1400" dirty="0" smtClean="0"/>
            <a:t>CIER Occidente: 3000 docentes </a:t>
          </a:r>
          <a:endParaRPr lang="es-ES" sz="1400" dirty="0"/>
        </a:p>
      </dgm:t>
    </dgm:pt>
    <dgm:pt modelId="{7C8E3ECB-8EC5-844F-925C-E5A3D583FF3F}" type="parTrans" cxnId="{831E0791-FEA0-2F45-A0F5-2D502C485CCC}">
      <dgm:prSet/>
      <dgm:spPr/>
      <dgm:t>
        <a:bodyPr/>
        <a:lstStyle/>
        <a:p>
          <a:endParaRPr lang="es-ES"/>
        </a:p>
      </dgm:t>
    </dgm:pt>
    <dgm:pt modelId="{19DEE310-D899-CB4C-8DCE-C274D6D730F5}" type="sibTrans" cxnId="{831E0791-FEA0-2F45-A0F5-2D502C485CCC}">
      <dgm:prSet/>
      <dgm:spPr/>
      <dgm:t>
        <a:bodyPr/>
        <a:lstStyle/>
        <a:p>
          <a:endParaRPr lang="es-ES"/>
        </a:p>
      </dgm:t>
    </dgm:pt>
    <dgm:pt modelId="{148123CC-8715-1648-A56D-519178B8BBAD}">
      <dgm:prSet phldrT="[Texto]"/>
      <dgm:spPr/>
      <dgm:t>
        <a:bodyPr/>
        <a:lstStyle/>
        <a:p>
          <a:r>
            <a:rPr lang="es-ES" dirty="0" smtClean="0"/>
            <a:t>Una unidad didáctica con integración de TIC. </a:t>
          </a:r>
          <a:endParaRPr lang="es-ES" dirty="0"/>
        </a:p>
      </dgm:t>
    </dgm:pt>
    <dgm:pt modelId="{51D77727-7975-3D47-A788-2CE349B1BB1D}" type="parTrans" cxnId="{89C21B3F-D7FF-DF4F-91C9-18DB4E79130F}">
      <dgm:prSet/>
      <dgm:spPr/>
      <dgm:t>
        <a:bodyPr/>
        <a:lstStyle/>
        <a:p>
          <a:endParaRPr lang="es-ES"/>
        </a:p>
      </dgm:t>
    </dgm:pt>
    <dgm:pt modelId="{56DEAB84-8C98-C645-A792-FD67F18AA6A2}" type="sibTrans" cxnId="{89C21B3F-D7FF-DF4F-91C9-18DB4E79130F}">
      <dgm:prSet/>
      <dgm:spPr/>
      <dgm:t>
        <a:bodyPr/>
        <a:lstStyle/>
        <a:p>
          <a:endParaRPr lang="es-ES"/>
        </a:p>
      </dgm:t>
    </dgm:pt>
    <dgm:pt modelId="{067E4124-69F0-1B4D-928B-F4F10913C21B}">
      <dgm:prSet phldrT="[Texto]"/>
      <dgm:spPr/>
      <dgm:t>
        <a:bodyPr/>
        <a:lstStyle/>
        <a:p>
          <a:r>
            <a:rPr lang="es-ES" dirty="0" smtClean="0"/>
            <a:t>Recursos Digitales.</a:t>
          </a:r>
          <a:endParaRPr lang="es-ES" dirty="0"/>
        </a:p>
      </dgm:t>
    </dgm:pt>
    <dgm:pt modelId="{42B1E135-D659-F14E-950A-92AB9A306C60}" type="parTrans" cxnId="{A259209A-9131-2540-8992-7B95452F3CE9}">
      <dgm:prSet/>
      <dgm:spPr/>
      <dgm:t>
        <a:bodyPr/>
        <a:lstStyle/>
        <a:p>
          <a:endParaRPr lang="es-ES"/>
        </a:p>
      </dgm:t>
    </dgm:pt>
    <dgm:pt modelId="{AB490DE7-443C-BE4A-86FD-1A3A528D3DD4}" type="sibTrans" cxnId="{A259209A-9131-2540-8992-7B95452F3CE9}">
      <dgm:prSet/>
      <dgm:spPr/>
      <dgm:t>
        <a:bodyPr/>
        <a:lstStyle/>
        <a:p>
          <a:endParaRPr lang="es-ES"/>
        </a:p>
      </dgm:t>
    </dgm:pt>
    <dgm:pt modelId="{B02DAB26-6A59-2147-8E6E-3225E9EC4A31}">
      <dgm:prSet phldrT="[Texto]"/>
      <dgm:spPr/>
      <dgm:t>
        <a:bodyPr/>
        <a:lstStyle/>
        <a:p>
          <a:r>
            <a:rPr lang="es-ES" dirty="0" smtClean="0"/>
            <a:t>La sistematización de la experiencia de implementación de la unidad didáctica. </a:t>
          </a:r>
          <a:endParaRPr lang="es-ES" dirty="0"/>
        </a:p>
      </dgm:t>
    </dgm:pt>
    <dgm:pt modelId="{157B5018-1AB8-2446-A890-BB1777445DA1}" type="parTrans" cxnId="{156F39EA-2921-624E-9530-554E9DAA935A}">
      <dgm:prSet/>
      <dgm:spPr/>
      <dgm:t>
        <a:bodyPr/>
        <a:lstStyle/>
        <a:p>
          <a:endParaRPr lang="es-ES"/>
        </a:p>
      </dgm:t>
    </dgm:pt>
    <dgm:pt modelId="{05852D50-A353-9645-9569-F2F189FFA55C}" type="sibTrans" cxnId="{156F39EA-2921-624E-9530-554E9DAA935A}">
      <dgm:prSet/>
      <dgm:spPr/>
      <dgm:t>
        <a:bodyPr/>
        <a:lstStyle/>
        <a:p>
          <a:endParaRPr lang="es-ES"/>
        </a:p>
      </dgm:t>
    </dgm:pt>
    <dgm:pt modelId="{73139EC6-D3A0-6742-8191-1C3ADDDFB8E2}" type="pres">
      <dgm:prSet presAssocID="{5B259E11-2FB0-2043-AF96-B0B2C42207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E3208616-ED80-0147-A5CC-F9C1A6B7A5B0}" type="pres">
      <dgm:prSet presAssocID="{0C28C03B-C958-D743-A927-DEA1299BF79B}" presName="linNode" presStyleCnt="0"/>
      <dgm:spPr/>
    </dgm:pt>
    <dgm:pt modelId="{FBCDF26F-68FA-FA49-BF86-BD925C462E61}" type="pres">
      <dgm:prSet presAssocID="{0C28C03B-C958-D743-A927-DEA1299BF79B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D486C1F-975A-B84C-88B3-FB4E52AD2371}" type="pres">
      <dgm:prSet presAssocID="{0C28C03B-C958-D743-A927-DEA1299BF79B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4FA9F20-C705-184C-8333-268B86E6F09A}" type="pres">
      <dgm:prSet presAssocID="{1BC29DA6-4E62-7849-9051-2F2807505588}" presName="sp" presStyleCnt="0"/>
      <dgm:spPr/>
    </dgm:pt>
    <dgm:pt modelId="{75E2C511-E97F-B54C-B65B-89C2F30C1E11}" type="pres">
      <dgm:prSet presAssocID="{4A7CA740-67CF-F14E-8C5A-77D9EA05D91F}" presName="linNode" presStyleCnt="0"/>
      <dgm:spPr/>
    </dgm:pt>
    <dgm:pt modelId="{1CF95174-D97A-284E-BBAF-11146DC24067}" type="pres">
      <dgm:prSet presAssocID="{4A7CA740-67CF-F14E-8C5A-77D9EA05D91F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3EF014C-6C30-B042-8DC8-BCFF98465F3B}" type="pres">
      <dgm:prSet presAssocID="{4A7CA740-67CF-F14E-8C5A-77D9EA05D91F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744CDA9-8F62-A740-8A4A-1BEC050FE29E}" type="pres">
      <dgm:prSet presAssocID="{281A21F0-C35B-4944-9215-B4822727688B}" presName="sp" presStyleCnt="0"/>
      <dgm:spPr/>
    </dgm:pt>
    <dgm:pt modelId="{C9137E83-0021-E44D-BC7F-36739A34584D}" type="pres">
      <dgm:prSet presAssocID="{D0B805E7-29D4-A541-8D33-1CCA5FCC985D}" presName="linNode" presStyleCnt="0"/>
      <dgm:spPr/>
    </dgm:pt>
    <dgm:pt modelId="{0679F5A3-ED0C-334F-80EC-E8675BA4BFF5}" type="pres">
      <dgm:prSet presAssocID="{D0B805E7-29D4-A541-8D33-1CCA5FCC985D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1D43525-2CFC-4A48-A5B5-BCBA6D69922C}" type="pres">
      <dgm:prSet presAssocID="{D0B805E7-29D4-A541-8D33-1CCA5FCC985D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8B7015F-AF4E-B340-8A3F-DE2DC69F6BF6}" type="presOf" srcId="{148123CC-8715-1648-A56D-519178B8BBAD}" destId="{91D43525-2CFC-4A48-A5B5-BCBA6D69922C}" srcOrd="0" destOrd="1" presId="urn:microsoft.com/office/officeart/2005/8/layout/vList5"/>
    <dgm:cxn modelId="{07A58ED5-AE69-5C4E-9CD5-13AE350D36DB}" type="presOf" srcId="{4FB9F160-F442-884E-89F9-1DF3F36D4D75}" destId="{BD486C1F-975A-B84C-88B3-FB4E52AD2371}" srcOrd="0" destOrd="0" presId="urn:microsoft.com/office/officeart/2005/8/layout/vList5"/>
    <dgm:cxn modelId="{AA89BD3B-DD00-E245-BC5A-599C26268E96}" type="presOf" srcId="{AF5681E8-4C62-8F4E-80AD-E014AD2939A1}" destId="{B3EF014C-6C30-B042-8DC8-BCFF98465F3B}" srcOrd="0" destOrd="1" presId="urn:microsoft.com/office/officeart/2005/8/layout/vList5"/>
    <dgm:cxn modelId="{BCDFE26F-3ACD-4E40-9F25-073458A7E809}" srcId="{5B259E11-2FB0-2043-AF96-B0B2C422071E}" destId="{D0B805E7-29D4-A541-8D33-1CCA5FCC985D}" srcOrd="2" destOrd="0" parTransId="{ADF8F5C4-AF76-1D4E-802B-F5A6CF3A5FD2}" sibTransId="{596BCE9D-E727-1842-9CB5-55B284CF8A86}"/>
    <dgm:cxn modelId="{F33E660D-37B5-2F43-9C0A-C217D6659176}" type="presOf" srcId="{5B259E11-2FB0-2043-AF96-B0B2C422071E}" destId="{73139EC6-D3A0-6742-8191-1C3ADDDFB8E2}" srcOrd="0" destOrd="0" presId="urn:microsoft.com/office/officeart/2005/8/layout/vList5"/>
    <dgm:cxn modelId="{A3040331-386A-E542-AA76-FCCED1493641}" srcId="{4A7CA740-67CF-F14E-8C5A-77D9EA05D91F}" destId="{AF5681E8-4C62-8F4E-80AD-E014AD2939A1}" srcOrd="1" destOrd="0" parTransId="{9D6F167C-E1C3-254D-8210-69AB79A0E979}" sibTransId="{A05D6606-C0F7-FE49-96E8-002AD1C2636D}"/>
    <dgm:cxn modelId="{F5D56FA8-0D60-DF44-957D-21F903D4B54D}" srcId="{5B259E11-2FB0-2043-AF96-B0B2C422071E}" destId="{4A7CA740-67CF-F14E-8C5A-77D9EA05D91F}" srcOrd="1" destOrd="0" parTransId="{34184003-49B0-3D4F-94DC-5D859529EBE3}" sibTransId="{281A21F0-C35B-4944-9215-B4822727688B}"/>
    <dgm:cxn modelId="{0E54BCAA-C9C1-7B45-AC3B-3FDA34FDB38B}" srcId="{0C28C03B-C958-D743-A927-DEA1299BF79B}" destId="{4FB9F160-F442-884E-89F9-1DF3F36D4D75}" srcOrd="0" destOrd="0" parTransId="{FA5A9B9E-3EB1-7448-8AAD-6270472C9A69}" sibTransId="{C5CC2BB6-B36D-9F49-87B3-E81B75C11CEB}"/>
    <dgm:cxn modelId="{79EF558F-CCE8-BD4A-918F-1B938919EE1C}" srcId="{4A7CA740-67CF-F14E-8C5A-77D9EA05D91F}" destId="{0969BDE8-0B50-1E4F-A2D6-D2D18F1363EF}" srcOrd="0" destOrd="0" parTransId="{AB49D10C-B14B-3F45-8385-A75EED661E73}" sibTransId="{7A386109-12D0-754B-8A2C-58233BFBF33F}"/>
    <dgm:cxn modelId="{4A915C62-A3D7-C84C-BC63-1BAB63493451}" type="presOf" srcId="{0C28C03B-C958-D743-A927-DEA1299BF79B}" destId="{FBCDF26F-68FA-FA49-BF86-BD925C462E61}" srcOrd="0" destOrd="0" presId="urn:microsoft.com/office/officeart/2005/8/layout/vList5"/>
    <dgm:cxn modelId="{360C1D28-E08D-F44E-AF27-9C9E4901B546}" type="presOf" srcId="{16AC7450-6630-4345-9D3E-892BE2E46CFB}" destId="{B3EF014C-6C30-B042-8DC8-BCFF98465F3B}" srcOrd="0" destOrd="2" presId="urn:microsoft.com/office/officeart/2005/8/layout/vList5"/>
    <dgm:cxn modelId="{532AB9B6-43E6-1C41-BC20-1485B5832B1D}" type="presOf" srcId="{4A7CA740-67CF-F14E-8C5A-77D9EA05D91F}" destId="{1CF95174-D97A-284E-BBAF-11146DC24067}" srcOrd="0" destOrd="0" presId="urn:microsoft.com/office/officeart/2005/8/layout/vList5"/>
    <dgm:cxn modelId="{8A735091-592E-2A4C-A20D-E10DE4558812}" type="presOf" srcId="{CC6869E4-5C81-804D-A8F0-4781712A32F7}" destId="{B3EF014C-6C30-B042-8DC8-BCFF98465F3B}" srcOrd="0" destOrd="3" presId="urn:microsoft.com/office/officeart/2005/8/layout/vList5"/>
    <dgm:cxn modelId="{2AF2421E-D77F-C140-9DD0-D742677EFF9D}" type="presOf" srcId="{0969BDE8-0B50-1E4F-A2D6-D2D18F1363EF}" destId="{B3EF014C-6C30-B042-8DC8-BCFF98465F3B}" srcOrd="0" destOrd="0" presId="urn:microsoft.com/office/officeart/2005/8/layout/vList5"/>
    <dgm:cxn modelId="{64D0A5A1-B61A-4C4B-8C13-873EEEB240D5}" type="presOf" srcId="{067E4124-69F0-1B4D-928B-F4F10913C21B}" destId="{91D43525-2CFC-4A48-A5B5-BCBA6D69922C}" srcOrd="0" destOrd="2" presId="urn:microsoft.com/office/officeart/2005/8/layout/vList5"/>
    <dgm:cxn modelId="{AB0ED026-D6C9-D546-8677-919481A1CBBF}" srcId="{4A7CA740-67CF-F14E-8C5A-77D9EA05D91F}" destId="{AA1B35B9-DF4C-DC41-AFEC-27CF292609E7}" srcOrd="4" destOrd="0" parTransId="{74F9AC42-C970-D544-9B54-8EC7C0C0A115}" sibTransId="{4DC32FB2-C8CE-584E-AF6F-D7E7AC52D9E6}"/>
    <dgm:cxn modelId="{831E0791-FEA0-2F45-A0F5-2D502C485CCC}" srcId="{4A7CA740-67CF-F14E-8C5A-77D9EA05D91F}" destId="{CC6869E4-5C81-804D-A8F0-4781712A32F7}" srcOrd="3" destOrd="0" parTransId="{7C8E3ECB-8EC5-844F-925C-E5A3D583FF3F}" sibTransId="{19DEE310-D899-CB4C-8DCE-C274D6D730F5}"/>
    <dgm:cxn modelId="{156F39EA-2921-624E-9530-554E9DAA935A}" srcId="{5755A424-9539-A84E-A719-76A427C238A3}" destId="{B02DAB26-6A59-2147-8E6E-3225E9EC4A31}" srcOrd="2" destOrd="0" parTransId="{157B5018-1AB8-2446-A890-BB1777445DA1}" sibTransId="{05852D50-A353-9645-9569-F2F189FFA55C}"/>
    <dgm:cxn modelId="{BDF37756-9ECA-694B-9030-C807861E22D4}" srcId="{5B259E11-2FB0-2043-AF96-B0B2C422071E}" destId="{0C28C03B-C958-D743-A927-DEA1299BF79B}" srcOrd="0" destOrd="0" parTransId="{1AE5FFF5-4DC5-5544-BAF5-6874F05E82E3}" sibTransId="{1BC29DA6-4E62-7849-9051-2F2807505588}"/>
    <dgm:cxn modelId="{66B72ED8-46F1-5A4D-BB52-CDCA0F047B4B}" srcId="{D0B805E7-29D4-A541-8D33-1CCA5FCC985D}" destId="{5755A424-9539-A84E-A719-76A427C238A3}" srcOrd="0" destOrd="0" parTransId="{024345DB-2306-F84B-BB4E-439646EB4EE6}" sibTransId="{610A5424-AC32-504E-A54A-CD743DE8B823}"/>
    <dgm:cxn modelId="{89C21B3F-D7FF-DF4F-91C9-18DB4E79130F}" srcId="{5755A424-9539-A84E-A719-76A427C238A3}" destId="{148123CC-8715-1648-A56D-519178B8BBAD}" srcOrd="0" destOrd="0" parTransId="{51D77727-7975-3D47-A788-2CE349B1BB1D}" sibTransId="{56DEAB84-8C98-C645-A792-FD67F18AA6A2}"/>
    <dgm:cxn modelId="{28B16830-E841-6743-A2CD-568033862316}" type="presOf" srcId="{5755A424-9539-A84E-A719-76A427C238A3}" destId="{91D43525-2CFC-4A48-A5B5-BCBA6D69922C}" srcOrd="0" destOrd="0" presId="urn:microsoft.com/office/officeart/2005/8/layout/vList5"/>
    <dgm:cxn modelId="{A259209A-9131-2540-8992-7B95452F3CE9}" srcId="{5755A424-9539-A84E-A719-76A427C238A3}" destId="{067E4124-69F0-1B4D-928B-F4F10913C21B}" srcOrd="1" destOrd="0" parTransId="{42B1E135-D659-F14E-950A-92AB9A306C60}" sibTransId="{AB490DE7-443C-BE4A-86FD-1A3A528D3DD4}"/>
    <dgm:cxn modelId="{27DCB809-002A-FC48-8967-1206C1D7720C}" srcId="{4A7CA740-67CF-F14E-8C5A-77D9EA05D91F}" destId="{16AC7450-6630-4345-9D3E-892BE2E46CFB}" srcOrd="2" destOrd="0" parTransId="{2F7C1E4B-90E2-E64E-87F8-C882318574A6}" sibTransId="{AD09257E-2814-4E48-8F78-8C782FDAB2BB}"/>
    <dgm:cxn modelId="{6679610F-A30A-104A-A1FF-000BB642BDD2}" type="presOf" srcId="{AA1B35B9-DF4C-DC41-AFEC-27CF292609E7}" destId="{B3EF014C-6C30-B042-8DC8-BCFF98465F3B}" srcOrd="0" destOrd="4" presId="urn:microsoft.com/office/officeart/2005/8/layout/vList5"/>
    <dgm:cxn modelId="{A2F04873-C6BD-AF41-9466-2C48513DF9A5}" type="presOf" srcId="{B02DAB26-6A59-2147-8E6E-3225E9EC4A31}" destId="{91D43525-2CFC-4A48-A5B5-BCBA6D69922C}" srcOrd="0" destOrd="3" presId="urn:microsoft.com/office/officeart/2005/8/layout/vList5"/>
    <dgm:cxn modelId="{E1887AC0-0E8B-BC4E-9ECD-4B6518433740}" type="presOf" srcId="{D0B805E7-29D4-A541-8D33-1CCA5FCC985D}" destId="{0679F5A3-ED0C-334F-80EC-E8675BA4BFF5}" srcOrd="0" destOrd="0" presId="urn:microsoft.com/office/officeart/2005/8/layout/vList5"/>
    <dgm:cxn modelId="{3C1E5935-B0DE-AA4C-9122-DF980592ED83}" type="presParOf" srcId="{73139EC6-D3A0-6742-8191-1C3ADDDFB8E2}" destId="{E3208616-ED80-0147-A5CC-F9C1A6B7A5B0}" srcOrd="0" destOrd="0" presId="urn:microsoft.com/office/officeart/2005/8/layout/vList5"/>
    <dgm:cxn modelId="{D3C88CBC-F372-4A40-B856-EEEAB2711122}" type="presParOf" srcId="{E3208616-ED80-0147-A5CC-F9C1A6B7A5B0}" destId="{FBCDF26F-68FA-FA49-BF86-BD925C462E61}" srcOrd="0" destOrd="0" presId="urn:microsoft.com/office/officeart/2005/8/layout/vList5"/>
    <dgm:cxn modelId="{12A65766-88BA-1B45-9F3E-A3E1F7AF5606}" type="presParOf" srcId="{E3208616-ED80-0147-A5CC-F9C1A6B7A5B0}" destId="{BD486C1F-975A-B84C-88B3-FB4E52AD2371}" srcOrd="1" destOrd="0" presId="urn:microsoft.com/office/officeart/2005/8/layout/vList5"/>
    <dgm:cxn modelId="{F0E011CD-02AD-684E-B20A-297024E3EE89}" type="presParOf" srcId="{73139EC6-D3A0-6742-8191-1C3ADDDFB8E2}" destId="{34FA9F20-C705-184C-8333-268B86E6F09A}" srcOrd="1" destOrd="0" presId="urn:microsoft.com/office/officeart/2005/8/layout/vList5"/>
    <dgm:cxn modelId="{5FE9F246-23C7-9F4B-A400-1E9D875E42D9}" type="presParOf" srcId="{73139EC6-D3A0-6742-8191-1C3ADDDFB8E2}" destId="{75E2C511-E97F-B54C-B65B-89C2F30C1E11}" srcOrd="2" destOrd="0" presId="urn:microsoft.com/office/officeart/2005/8/layout/vList5"/>
    <dgm:cxn modelId="{B4AEE466-D320-2744-8744-C2CD382851D9}" type="presParOf" srcId="{75E2C511-E97F-B54C-B65B-89C2F30C1E11}" destId="{1CF95174-D97A-284E-BBAF-11146DC24067}" srcOrd="0" destOrd="0" presId="urn:microsoft.com/office/officeart/2005/8/layout/vList5"/>
    <dgm:cxn modelId="{CA9D604B-DCDB-8D47-AD56-45F508B99671}" type="presParOf" srcId="{75E2C511-E97F-B54C-B65B-89C2F30C1E11}" destId="{B3EF014C-6C30-B042-8DC8-BCFF98465F3B}" srcOrd="1" destOrd="0" presId="urn:microsoft.com/office/officeart/2005/8/layout/vList5"/>
    <dgm:cxn modelId="{EAB73BB0-967E-724A-B502-8B6E19227033}" type="presParOf" srcId="{73139EC6-D3A0-6742-8191-1C3ADDDFB8E2}" destId="{1744CDA9-8F62-A740-8A4A-1BEC050FE29E}" srcOrd="3" destOrd="0" presId="urn:microsoft.com/office/officeart/2005/8/layout/vList5"/>
    <dgm:cxn modelId="{D5BD9540-CE6C-B347-9E00-7D06FBCC3AB1}" type="presParOf" srcId="{73139EC6-D3A0-6742-8191-1C3ADDDFB8E2}" destId="{C9137E83-0021-E44D-BC7F-36739A34584D}" srcOrd="4" destOrd="0" presId="urn:microsoft.com/office/officeart/2005/8/layout/vList5"/>
    <dgm:cxn modelId="{34E1D63B-20D2-A44D-A4B7-96FE8E2B483E}" type="presParOf" srcId="{C9137E83-0021-E44D-BC7F-36739A34584D}" destId="{0679F5A3-ED0C-334F-80EC-E8675BA4BFF5}" srcOrd="0" destOrd="0" presId="urn:microsoft.com/office/officeart/2005/8/layout/vList5"/>
    <dgm:cxn modelId="{05942B20-8402-D44A-8A0B-CFDAC1F68767}" type="presParOf" srcId="{C9137E83-0021-E44D-BC7F-36739A34584D}" destId="{91D43525-2CFC-4A48-A5B5-BCBA6D69922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694605B-05B2-3D48-85CD-629017C0F3E1}" type="doc">
      <dgm:prSet loTypeId="urn:microsoft.com/office/officeart/2009/3/layout/StepUpProcess" loCatId="" qsTypeId="urn:microsoft.com/office/officeart/2005/8/quickstyle/simple4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617BAEB1-F58E-C04D-A8CD-32B00A3C5162}">
      <dgm:prSet phldrT="[Texto]"/>
      <dgm:spPr/>
      <dgm:t>
        <a:bodyPr/>
        <a:lstStyle/>
        <a:p>
          <a:r>
            <a:rPr lang="en-US" b="1" dirty="0" err="1" smtClean="0"/>
            <a:t>Fase</a:t>
          </a:r>
          <a:r>
            <a:rPr lang="en-US" b="1" dirty="0" smtClean="0"/>
            <a:t> I Virtual </a:t>
          </a:r>
        </a:p>
        <a:p>
          <a:r>
            <a:rPr lang="en-US" dirty="0" smtClean="0"/>
            <a:t>30 </a:t>
          </a:r>
          <a:r>
            <a:rPr lang="en-US" dirty="0" err="1" smtClean="0"/>
            <a:t>horas</a:t>
          </a:r>
          <a:endParaRPr lang="en-US" dirty="0" smtClean="0"/>
        </a:p>
        <a:p>
          <a:r>
            <a:rPr lang="en-US" dirty="0" smtClean="0"/>
            <a:t>3 </a:t>
          </a:r>
          <a:r>
            <a:rPr lang="en-US" dirty="0" err="1" smtClean="0"/>
            <a:t>semanas</a:t>
          </a:r>
          <a:endParaRPr lang="en-US" dirty="0"/>
        </a:p>
      </dgm:t>
    </dgm:pt>
    <dgm:pt modelId="{683D3F7E-F3C3-3D43-B1FF-982B1A59668B}" type="parTrans" cxnId="{DBD3E833-BDD0-B147-A48D-85FE4C00FA00}">
      <dgm:prSet/>
      <dgm:spPr/>
      <dgm:t>
        <a:bodyPr/>
        <a:lstStyle/>
        <a:p>
          <a:endParaRPr lang="en-US"/>
        </a:p>
      </dgm:t>
    </dgm:pt>
    <dgm:pt modelId="{A239CCE8-CC6B-DE4E-A612-328464625DEB}" type="sibTrans" cxnId="{DBD3E833-BDD0-B147-A48D-85FE4C00FA00}">
      <dgm:prSet/>
      <dgm:spPr/>
      <dgm:t>
        <a:bodyPr/>
        <a:lstStyle/>
        <a:p>
          <a:endParaRPr lang="en-US"/>
        </a:p>
      </dgm:t>
    </dgm:pt>
    <dgm:pt modelId="{C225ED9F-6669-8043-B276-263E495F2DF7}">
      <dgm:prSet phldrT="[Texto]"/>
      <dgm:spPr/>
      <dgm:t>
        <a:bodyPr/>
        <a:lstStyle/>
        <a:p>
          <a:r>
            <a:rPr lang="en-US" b="1" dirty="0" err="1" smtClean="0"/>
            <a:t>Fase</a:t>
          </a:r>
          <a:r>
            <a:rPr lang="en-US" b="1" dirty="0" smtClean="0"/>
            <a:t> 2 </a:t>
          </a:r>
          <a:r>
            <a:rPr lang="en-US" b="1" dirty="0" err="1" smtClean="0"/>
            <a:t>Presencial</a:t>
          </a:r>
          <a:endParaRPr lang="en-US" b="1" dirty="0" smtClean="0"/>
        </a:p>
        <a:p>
          <a:r>
            <a:rPr lang="en-US" dirty="0" smtClean="0"/>
            <a:t>40 </a:t>
          </a:r>
          <a:r>
            <a:rPr lang="en-US" dirty="0" err="1" smtClean="0"/>
            <a:t>horas</a:t>
          </a:r>
          <a:endParaRPr lang="en-US" dirty="0" smtClean="0"/>
        </a:p>
        <a:p>
          <a:r>
            <a:rPr lang="en-US" dirty="0" smtClean="0"/>
            <a:t>1 </a:t>
          </a:r>
          <a:r>
            <a:rPr lang="en-US" dirty="0" err="1" smtClean="0"/>
            <a:t>semana</a:t>
          </a:r>
          <a:endParaRPr lang="en-US" dirty="0"/>
        </a:p>
      </dgm:t>
    </dgm:pt>
    <dgm:pt modelId="{C06F993B-27C4-6640-8B13-BC912AF35423}" type="parTrans" cxnId="{B4A4D82F-648E-8D41-BC46-3DAF602F57DB}">
      <dgm:prSet/>
      <dgm:spPr/>
      <dgm:t>
        <a:bodyPr/>
        <a:lstStyle/>
        <a:p>
          <a:endParaRPr lang="en-US"/>
        </a:p>
      </dgm:t>
    </dgm:pt>
    <dgm:pt modelId="{8BE99953-910A-C34F-9063-7BC10E0D8198}" type="sibTrans" cxnId="{B4A4D82F-648E-8D41-BC46-3DAF602F57DB}">
      <dgm:prSet/>
      <dgm:spPr/>
      <dgm:t>
        <a:bodyPr/>
        <a:lstStyle/>
        <a:p>
          <a:endParaRPr lang="en-US"/>
        </a:p>
      </dgm:t>
    </dgm:pt>
    <dgm:pt modelId="{1D6F3BC8-7D90-D741-A0E6-0DAF11113F57}">
      <dgm:prSet phldrT="[Texto]"/>
      <dgm:spPr/>
      <dgm:t>
        <a:bodyPr/>
        <a:lstStyle/>
        <a:p>
          <a:r>
            <a:rPr lang="en-US" b="1" dirty="0" err="1" smtClean="0"/>
            <a:t>Fase</a:t>
          </a:r>
          <a:r>
            <a:rPr lang="en-US" b="1" dirty="0" smtClean="0"/>
            <a:t> 3 Virtual </a:t>
          </a:r>
          <a:r>
            <a:rPr lang="en-US" dirty="0" smtClean="0"/>
            <a:t>20 </a:t>
          </a:r>
          <a:r>
            <a:rPr lang="en-US" dirty="0" err="1" smtClean="0"/>
            <a:t>horas</a:t>
          </a:r>
          <a:endParaRPr lang="en-US" dirty="0" smtClean="0"/>
        </a:p>
        <a:p>
          <a:r>
            <a:rPr lang="en-US" dirty="0" smtClean="0"/>
            <a:t>2 </a:t>
          </a:r>
          <a:r>
            <a:rPr lang="en-US" dirty="0" err="1" smtClean="0"/>
            <a:t>semanas</a:t>
          </a:r>
          <a:endParaRPr lang="en-US" dirty="0" smtClean="0"/>
        </a:p>
        <a:p>
          <a:endParaRPr lang="en-US" dirty="0"/>
        </a:p>
      </dgm:t>
    </dgm:pt>
    <dgm:pt modelId="{4C05FA34-D837-6B4D-B4C5-7FB493E6D319}" type="parTrans" cxnId="{B3A00959-4E7C-D544-BA25-C35E901D6402}">
      <dgm:prSet/>
      <dgm:spPr/>
      <dgm:t>
        <a:bodyPr/>
        <a:lstStyle/>
        <a:p>
          <a:endParaRPr lang="en-US"/>
        </a:p>
      </dgm:t>
    </dgm:pt>
    <dgm:pt modelId="{55378342-F6C0-374C-84F8-7CCE491828BB}" type="sibTrans" cxnId="{B3A00959-4E7C-D544-BA25-C35E901D6402}">
      <dgm:prSet/>
      <dgm:spPr/>
      <dgm:t>
        <a:bodyPr/>
        <a:lstStyle/>
        <a:p>
          <a:endParaRPr lang="en-US"/>
        </a:p>
      </dgm:t>
    </dgm:pt>
    <dgm:pt modelId="{6554CEEE-CF44-A548-9DBB-2F629773B320}" type="pres">
      <dgm:prSet presAssocID="{5694605B-05B2-3D48-85CD-629017C0F3E1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6BB659D-F7E3-C840-B441-CEC9FD5FF53A}" type="pres">
      <dgm:prSet presAssocID="{617BAEB1-F58E-C04D-A8CD-32B00A3C5162}" presName="composite" presStyleCnt="0"/>
      <dgm:spPr/>
    </dgm:pt>
    <dgm:pt modelId="{C7BF228A-E9A3-8D44-9417-447CC0601E16}" type="pres">
      <dgm:prSet presAssocID="{617BAEB1-F58E-C04D-A8CD-32B00A3C5162}" presName="LShape" presStyleLbl="alignNode1" presStyleIdx="0" presStyleCnt="5"/>
      <dgm:spPr/>
    </dgm:pt>
    <dgm:pt modelId="{F1395B47-D939-E342-9AD1-BC2E7303AA11}" type="pres">
      <dgm:prSet presAssocID="{617BAEB1-F58E-C04D-A8CD-32B00A3C5162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FE88A9-6A1A-CA45-9D4E-DA55DD9A3FE0}" type="pres">
      <dgm:prSet presAssocID="{617BAEB1-F58E-C04D-A8CD-32B00A3C5162}" presName="Triangle" presStyleLbl="alignNode1" presStyleIdx="1" presStyleCnt="5"/>
      <dgm:spPr/>
    </dgm:pt>
    <dgm:pt modelId="{8169B3A3-C53E-B641-B153-1B7165DE1490}" type="pres">
      <dgm:prSet presAssocID="{A239CCE8-CC6B-DE4E-A612-328464625DEB}" presName="sibTrans" presStyleCnt="0"/>
      <dgm:spPr/>
    </dgm:pt>
    <dgm:pt modelId="{8208F00F-9950-ED43-8B63-CCE381D678E8}" type="pres">
      <dgm:prSet presAssocID="{A239CCE8-CC6B-DE4E-A612-328464625DEB}" presName="space" presStyleCnt="0"/>
      <dgm:spPr/>
    </dgm:pt>
    <dgm:pt modelId="{1A450305-D548-954E-B34A-C0C945A66D0C}" type="pres">
      <dgm:prSet presAssocID="{C225ED9F-6669-8043-B276-263E495F2DF7}" presName="composite" presStyleCnt="0"/>
      <dgm:spPr/>
    </dgm:pt>
    <dgm:pt modelId="{3A35001F-1BBF-4D43-9972-24E01A2DD2BB}" type="pres">
      <dgm:prSet presAssocID="{C225ED9F-6669-8043-B276-263E495F2DF7}" presName="LShape" presStyleLbl="alignNode1" presStyleIdx="2" presStyleCnt="5"/>
      <dgm:spPr/>
    </dgm:pt>
    <dgm:pt modelId="{A414394B-C5C6-D14D-90D8-9A98F27FCC64}" type="pres">
      <dgm:prSet presAssocID="{C225ED9F-6669-8043-B276-263E495F2DF7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9B4DAF-5F39-9F4B-B95E-CA623E823D4A}" type="pres">
      <dgm:prSet presAssocID="{C225ED9F-6669-8043-B276-263E495F2DF7}" presName="Triangle" presStyleLbl="alignNode1" presStyleIdx="3" presStyleCnt="5"/>
      <dgm:spPr/>
    </dgm:pt>
    <dgm:pt modelId="{8B36AD71-096A-7546-B040-FA50B5BE08D8}" type="pres">
      <dgm:prSet presAssocID="{8BE99953-910A-C34F-9063-7BC10E0D8198}" presName="sibTrans" presStyleCnt="0"/>
      <dgm:spPr/>
    </dgm:pt>
    <dgm:pt modelId="{C5725EDC-A43D-0D4E-880D-A85B762FE32F}" type="pres">
      <dgm:prSet presAssocID="{8BE99953-910A-C34F-9063-7BC10E0D8198}" presName="space" presStyleCnt="0"/>
      <dgm:spPr/>
    </dgm:pt>
    <dgm:pt modelId="{7CB4E1B2-46EC-744C-AE5C-86263D910721}" type="pres">
      <dgm:prSet presAssocID="{1D6F3BC8-7D90-D741-A0E6-0DAF11113F57}" presName="composite" presStyleCnt="0"/>
      <dgm:spPr/>
    </dgm:pt>
    <dgm:pt modelId="{79FCA431-2759-AE43-86D3-6C25293368AE}" type="pres">
      <dgm:prSet presAssocID="{1D6F3BC8-7D90-D741-A0E6-0DAF11113F57}" presName="LShape" presStyleLbl="alignNode1" presStyleIdx="4" presStyleCnt="5"/>
      <dgm:spPr/>
    </dgm:pt>
    <dgm:pt modelId="{AA7A631B-39EF-A24F-9F16-87011925BB3F}" type="pres">
      <dgm:prSet presAssocID="{1D6F3BC8-7D90-D741-A0E6-0DAF11113F57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BD3E833-BDD0-B147-A48D-85FE4C00FA00}" srcId="{5694605B-05B2-3D48-85CD-629017C0F3E1}" destId="{617BAEB1-F58E-C04D-A8CD-32B00A3C5162}" srcOrd="0" destOrd="0" parTransId="{683D3F7E-F3C3-3D43-B1FF-982B1A59668B}" sibTransId="{A239CCE8-CC6B-DE4E-A612-328464625DEB}"/>
    <dgm:cxn modelId="{3F7E7961-AA04-1741-8A78-BECC4E094202}" type="presOf" srcId="{C225ED9F-6669-8043-B276-263E495F2DF7}" destId="{A414394B-C5C6-D14D-90D8-9A98F27FCC64}" srcOrd="0" destOrd="0" presId="urn:microsoft.com/office/officeart/2009/3/layout/StepUpProcess"/>
    <dgm:cxn modelId="{89614F33-8039-0A44-BE7A-94ACF09959E7}" type="presOf" srcId="{1D6F3BC8-7D90-D741-A0E6-0DAF11113F57}" destId="{AA7A631B-39EF-A24F-9F16-87011925BB3F}" srcOrd="0" destOrd="0" presId="urn:microsoft.com/office/officeart/2009/3/layout/StepUpProcess"/>
    <dgm:cxn modelId="{B4A4D82F-648E-8D41-BC46-3DAF602F57DB}" srcId="{5694605B-05B2-3D48-85CD-629017C0F3E1}" destId="{C225ED9F-6669-8043-B276-263E495F2DF7}" srcOrd="1" destOrd="0" parTransId="{C06F993B-27C4-6640-8B13-BC912AF35423}" sibTransId="{8BE99953-910A-C34F-9063-7BC10E0D8198}"/>
    <dgm:cxn modelId="{9CEB2894-5ABE-8448-A61C-51A2A21439EE}" type="presOf" srcId="{617BAEB1-F58E-C04D-A8CD-32B00A3C5162}" destId="{F1395B47-D939-E342-9AD1-BC2E7303AA11}" srcOrd="0" destOrd="0" presId="urn:microsoft.com/office/officeart/2009/3/layout/StepUpProcess"/>
    <dgm:cxn modelId="{B3A00959-4E7C-D544-BA25-C35E901D6402}" srcId="{5694605B-05B2-3D48-85CD-629017C0F3E1}" destId="{1D6F3BC8-7D90-D741-A0E6-0DAF11113F57}" srcOrd="2" destOrd="0" parTransId="{4C05FA34-D837-6B4D-B4C5-7FB493E6D319}" sibTransId="{55378342-F6C0-374C-84F8-7CCE491828BB}"/>
    <dgm:cxn modelId="{ECDB3C93-0380-C04A-BB40-254A517D9C1D}" type="presOf" srcId="{5694605B-05B2-3D48-85CD-629017C0F3E1}" destId="{6554CEEE-CF44-A548-9DBB-2F629773B320}" srcOrd="0" destOrd="0" presId="urn:microsoft.com/office/officeart/2009/3/layout/StepUpProcess"/>
    <dgm:cxn modelId="{42D42396-2DE5-674B-9DBC-FCC3773E459D}" type="presParOf" srcId="{6554CEEE-CF44-A548-9DBB-2F629773B320}" destId="{96BB659D-F7E3-C840-B441-CEC9FD5FF53A}" srcOrd="0" destOrd="0" presId="urn:microsoft.com/office/officeart/2009/3/layout/StepUpProcess"/>
    <dgm:cxn modelId="{36C31B01-2374-5E48-AC77-29263AE58560}" type="presParOf" srcId="{96BB659D-F7E3-C840-B441-CEC9FD5FF53A}" destId="{C7BF228A-E9A3-8D44-9417-447CC0601E16}" srcOrd="0" destOrd="0" presId="urn:microsoft.com/office/officeart/2009/3/layout/StepUpProcess"/>
    <dgm:cxn modelId="{9A94B16E-51D3-3143-B9CD-5E9353218102}" type="presParOf" srcId="{96BB659D-F7E3-C840-B441-CEC9FD5FF53A}" destId="{F1395B47-D939-E342-9AD1-BC2E7303AA11}" srcOrd="1" destOrd="0" presId="urn:microsoft.com/office/officeart/2009/3/layout/StepUpProcess"/>
    <dgm:cxn modelId="{14AB18ED-56E4-FA4F-81A8-8D5A23918826}" type="presParOf" srcId="{96BB659D-F7E3-C840-B441-CEC9FD5FF53A}" destId="{87FE88A9-6A1A-CA45-9D4E-DA55DD9A3FE0}" srcOrd="2" destOrd="0" presId="urn:microsoft.com/office/officeart/2009/3/layout/StepUpProcess"/>
    <dgm:cxn modelId="{59D16005-35A5-BB4E-9F65-0D3FAE7A2464}" type="presParOf" srcId="{6554CEEE-CF44-A548-9DBB-2F629773B320}" destId="{8169B3A3-C53E-B641-B153-1B7165DE1490}" srcOrd="1" destOrd="0" presId="urn:microsoft.com/office/officeart/2009/3/layout/StepUpProcess"/>
    <dgm:cxn modelId="{623CD24E-A2C1-9E46-A56A-A138B6F5D10F}" type="presParOf" srcId="{8169B3A3-C53E-B641-B153-1B7165DE1490}" destId="{8208F00F-9950-ED43-8B63-CCE381D678E8}" srcOrd="0" destOrd="0" presId="urn:microsoft.com/office/officeart/2009/3/layout/StepUpProcess"/>
    <dgm:cxn modelId="{7311DF9A-0EEA-354D-8CFB-63F0E5166E5C}" type="presParOf" srcId="{6554CEEE-CF44-A548-9DBB-2F629773B320}" destId="{1A450305-D548-954E-B34A-C0C945A66D0C}" srcOrd="2" destOrd="0" presId="urn:microsoft.com/office/officeart/2009/3/layout/StepUpProcess"/>
    <dgm:cxn modelId="{630B87C3-6B91-A244-9899-D4EC53723423}" type="presParOf" srcId="{1A450305-D548-954E-B34A-C0C945A66D0C}" destId="{3A35001F-1BBF-4D43-9972-24E01A2DD2BB}" srcOrd="0" destOrd="0" presId="urn:microsoft.com/office/officeart/2009/3/layout/StepUpProcess"/>
    <dgm:cxn modelId="{E69EB9D1-DAC6-6541-BEF4-A0A93C6E985D}" type="presParOf" srcId="{1A450305-D548-954E-B34A-C0C945A66D0C}" destId="{A414394B-C5C6-D14D-90D8-9A98F27FCC64}" srcOrd="1" destOrd="0" presId="urn:microsoft.com/office/officeart/2009/3/layout/StepUpProcess"/>
    <dgm:cxn modelId="{C5F7AB93-EEAF-6040-986C-568263BE5E1E}" type="presParOf" srcId="{1A450305-D548-954E-B34A-C0C945A66D0C}" destId="{1F9B4DAF-5F39-9F4B-B95E-CA623E823D4A}" srcOrd="2" destOrd="0" presId="urn:microsoft.com/office/officeart/2009/3/layout/StepUpProcess"/>
    <dgm:cxn modelId="{DAAA6CB7-C285-AC4A-9C68-BFC3ABDB91DF}" type="presParOf" srcId="{6554CEEE-CF44-A548-9DBB-2F629773B320}" destId="{8B36AD71-096A-7546-B040-FA50B5BE08D8}" srcOrd="3" destOrd="0" presId="urn:microsoft.com/office/officeart/2009/3/layout/StepUpProcess"/>
    <dgm:cxn modelId="{13A69CD0-581C-034E-B49C-AE2DDB02589D}" type="presParOf" srcId="{8B36AD71-096A-7546-B040-FA50B5BE08D8}" destId="{C5725EDC-A43D-0D4E-880D-A85B762FE32F}" srcOrd="0" destOrd="0" presId="urn:microsoft.com/office/officeart/2009/3/layout/StepUpProcess"/>
    <dgm:cxn modelId="{579BAFC8-908E-7044-A629-F14E6EEDE1B4}" type="presParOf" srcId="{6554CEEE-CF44-A548-9DBB-2F629773B320}" destId="{7CB4E1B2-46EC-744C-AE5C-86263D910721}" srcOrd="4" destOrd="0" presId="urn:microsoft.com/office/officeart/2009/3/layout/StepUpProcess"/>
    <dgm:cxn modelId="{CC35D95C-7CDA-5649-9972-0DE7A2BB35E0}" type="presParOf" srcId="{7CB4E1B2-46EC-744C-AE5C-86263D910721}" destId="{79FCA431-2759-AE43-86D3-6C25293368AE}" srcOrd="0" destOrd="0" presId="urn:microsoft.com/office/officeart/2009/3/layout/StepUpProcess"/>
    <dgm:cxn modelId="{A4FE3E23-4A3E-2844-8112-F1676CEDBCD5}" type="presParOf" srcId="{7CB4E1B2-46EC-744C-AE5C-86263D910721}" destId="{AA7A631B-39EF-A24F-9F16-87011925BB3F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EE9CE44-50C4-6848-BAE2-2A276496591B}" type="doc">
      <dgm:prSet loTypeId="urn:microsoft.com/office/officeart/2005/8/layout/hierarchy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2FF573F1-29F3-3242-B19A-A63A853B8C40}">
      <dgm:prSet phldrT="[Texto]"/>
      <dgm:spPr>
        <a:xfrm>
          <a:off x="2119639" y="121140"/>
          <a:ext cx="1141788" cy="725035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s-E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3000 cupos por CIER</a:t>
          </a:r>
        </a:p>
      </dgm:t>
    </dgm:pt>
    <dgm:pt modelId="{257BBE7B-B56C-6E45-9453-DA5180597D8D}" type="parTrans" cxnId="{E16FCDC9-0BEA-D943-9B7B-9B1C3B9B6306}">
      <dgm:prSet/>
      <dgm:spPr/>
      <dgm:t>
        <a:bodyPr/>
        <a:lstStyle/>
        <a:p>
          <a:pPr algn="ctr"/>
          <a:endParaRPr lang="es-ES"/>
        </a:p>
      </dgm:t>
    </dgm:pt>
    <dgm:pt modelId="{E18435B1-1B5D-E446-91ED-301ADAA2A24F}" type="sibTrans" cxnId="{E16FCDC9-0BEA-D943-9B7B-9B1C3B9B6306}">
      <dgm:prSet/>
      <dgm:spPr/>
      <dgm:t>
        <a:bodyPr/>
        <a:lstStyle/>
        <a:p>
          <a:pPr algn="ctr"/>
          <a:endParaRPr lang="es-ES"/>
        </a:p>
      </dgm:t>
    </dgm:pt>
    <dgm:pt modelId="{539F371E-BB7A-2B4F-A2A1-DFE35FAE91F9}">
      <dgm:prSet phldrT="[Texto]"/>
      <dgm:spPr>
        <a:xfrm>
          <a:off x="1421879" y="2235351"/>
          <a:ext cx="1141788" cy="725035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64A2">
              <a:lumMod val="7500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s-ES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ínimo </a:t>
          </a:r>
          <a:r>
            <a:rPr lang="es-E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2400 Cupos</a:t>
          </a:r>
        </a:p>
        <a:p>
          <a:pPr algn="ctr"/>
          <a:r>
            <a:rPr lang="es-E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3.5% - 11% de la planta docente por SE</a:t>
          </a:r>
        </a:p>
      </dgm:t>
    </dgm:pt>
    <dgm:pt modelId="{9DC8B27B-17D0-524B-82B8-48D7166CA4A2}" type="parTrans" cxnId="{635F903F-4015-3D47-96E1-B770A15CF93E}">
      <dgm:prSet/>
      <dgm:spPr>
        <a:xfrm>
          <a:off x="1820188" y="1782759"/>
          <a:ext cx="91440" cy="332070"/>
        </a:xfrm>
        <a:noFill/>
        <a:ln w="9525" cap="flat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endParaRPr lang="es-ES"/>
        </a:p>
      </dgm:t>
    </dgm:pt>
    <dgm:pt modelId="{445BC067-FD91-6541-BF01-A88650F8DFBC}" type="sibTrans" cxnId="{635F903F-4015-3D47-96E1-B770A15CF93E}">
      <dgm:prSet/>
      <dgm:spPr/>
      <dgm:t>
        <a:bodyPr/>
        <a:lstStyle/>
        <a:p>
          <a:pPr algn="ctr"/>
          <a:endParaRPr lang="es-ES"/>
        </a:p>
      </dgm:t>
    </dgm:pt>
    <dgm:pt modelId="{ADCBA9B1-2B11-AB4F-9B39-4B71C71CF68B}">
      <dgm:prSet phldrT="[Texto]"/>
      <dgm:spPr>
        <a:xfrm>
          <a:off x="2817399" y="1178245"/>
          <a:ext cx="1141788" cy="725035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s-E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áximo 20% de los cupos docentes de Superior </a:t>
          </a:r>
        </a:p>
      </dgm:t>
    </dgm:pt>
    <dgm:pt modelId="{97BFD818-F02C-6A48-AEF6-377795FA1560}" type="parTrans" cxnId="{895FF2EB-36AE-D54F-8122-753ADB024F05}">
      <dgm:prSet/>
      <dgm:spPr>
        <a:xfrm>
          <a:off x="2563668" y="725653"/>
          <a:ext cx="697759" cy="332070"/>
        </a:xfrm>
        <a:noFill/>
        <a:ln w="9525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endParaRPr lang="es-ES"/>
        </a:p>
      </dgm:t>
    </dgm:pt>
    <dgm:pt modelId="{A3024ED7-A28F-F74A-9CEA-19EDA7881258}" type="sibTrans" cxnId="{895FF2EB-36AE-D54F-8122-753ADB024F05}">
      <dgm:prSet/>
      <dgm:spPr/>
      <dgm:t>
        <a:bodyPr/>
        <a:lstStyle/>
        <a:p>
          <a:pPr algn="ctr"/>
          <a:endParaRPr lang="es-ES"/>
        </a:p>
      </dgm:t>
    </dgm:pt>
    <dgm:pt modelId="{FBBB4261-146C-1B4A-9223-F90C2ED7EA45}">
      <dgm:prSet phldrT="[Texto]"/>
      <dgm:spPr>
        <a:xfrm>
          <a:off x="2817399" y="2235351"/>
          <a:ext cx="1141788" cy="725035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s-E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áximo 600 con aprobación del MEN</a:t>
          </a:r>
        </a:p>
        <a:p>
          <a:pPr algn="ctr"/>
          <a:endParaRPr lang="es-E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mbria"/>
            <a:ea typeface="+mn-ea"/>
            <a:cs typeface="+mn-cs"/>
          </a:endParaRPr>
        </a:p>
      </dgm:t>
    </dgm:pt>
    <dgm:pt modelId="{8AFED817-A331-834C-A662-13B51584D3D6}" type="parTrans" cxnId="{E76BA361-59C1-E04D-BC13-8C499ACCD1F9}">
      <dgm:prSet/>
      <dgm:spPr>
        <a:xfrm>
          <a:off x="3215707" y="1782759"/>
          <a:ext cx="91440" cy="332070"/>
        </a:xfrm>
        <a:noFill/>
        <a:ln w="9525" cap="flat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endParaRPr lang="es-ES"/>
        </a:p>
      </dgm:t>
    </dgm:pt>
    <dgm:pt modelId="{095B02E2-0F5D-234E-B2D6-7B2895F9F2FA}" type="sibTrans" cxnId="{E76BA361-59C1-E04D-BC13-8C499ACCD1F9}">
      <dgm:prSet/>
      <dgm:spPr/>
      <dgm:t>
        <a:bodyPr/>
        <a:lstStyle/>
        <a:p>
          <a:pPr algn="ctr"/>
          <a:endParaRPr lang="es-ES"/>
        </a:p>
      </dgm:t>
    </dgm:pt>
    <dgm:pt modelId="{D87CAC49-9249-9349-BEE1-19AD27B05DDF}">
      <dgm:prSet phldrT="[Texto]"/>
      <dgm:spPr>
        <a:xfrm>
          <a:off x="1421879" y="1178245"/>
          <a:ext cx="1141788" cy="725035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64A2">
              <a:lumMod val="7500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es-E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80% de los cupos docentes de EPBM </a:t>
          </a:r>
        </a:p>
      </dgm:t>
    </dgm:pt>
    <dgm:pt modelId="{07BA5E50-988B-3B4C-A37F-972EFE47D14D}" type="parTrans" cxnId="{4BEE1B5C-DD3C-B241-9C4B-9628277C6F61}">
      <dgm:prSet/>
      <dgm:spPr>
        <a:xfrm>
          <a:off x="1865908" y="725653"/>
          <a:ext cx="697759" cy="332070"/>
        </a:xfrm>
        <a:noFill/>
        <a:ln w="9525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endParaRPr lang="es-ES"/>
        </a:p>
      </dgm:t>
    </dgm:pt>
    <dgm:pt modelId="{C634983C-B376-1D4E-BDC0-7B6A06804C63}" type="sibTrans" cxnId="{4BEE1B5C-DD3C-B241-9C4B-9628277C6F61}">
      <dgm:prSet/>
      <dgm:spPr/>
      <dgm:t>
        <a:bodyPr/>
        <a:lstStyle/>
        <a:p>
          <a:pPr algn="ctr"/>
          <a:endParaRPr lang="es-ES"/>
        </a:p>
      </dgm:t>
    </dgm:pt>
    <dgm:pt modelId="{9EE016BF-DD0C-A340-B62D-F79D701A9438}" type="pres">
      <dgm:prSet presAssocID="{FEE9CE44-50C4-6848-BAE2-2A276496591B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1336D1C9-2542-CB4F-9E63-67809CFDD43A}" type="pres">
      <dgm:prSet presAssocID="{2FF573F1-29F3-3242-B19A-A63A853B8C40}" presName="hierRoot1" presStyleCnt="0"/>
      <dgm:spPr/>
    </dgm:pt>
    <dgm:pt modelId="{9F3C52FF-AF08-EA41-9DDB-6FDCD82E9623}" type="pres">
      <dgm:prSet presAssocID="{2FF573F1-29F3-3242-B19A-A63A853B8C40}" presName="composite" presStyleCnt="0"/>
      <dgm:spPr/>
    </dgm:pt>
    <dgm:pt modelId="{AA1ACE00-454E-E24D-94DD-4B53F5FB4171}" type="pres">
      <dgm:prSet presAssocID="{2FF573F1-29F3-3242-B19A-A63A853B8C40}" presName="background" presStyleLbl="node0" presStyleIdx="0" presStyleCnt="1"/>
      <dgm:spPr>
        <a:xfrm>
          <a:off x="1992774" y="617"/>
          <a:ext cx="1141788" cy="72503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es-CO"/>
        </a:p>
      </dgm:t>
    </dgm:pt>
    <dgm:pt modelId="{A04FF1B2-6789-8043-A6E7-FF389A7B1C10}" type="pres">
      <dgm:prSet presAssocID="{2FF573F1-29F3-3242-B19A-A63A853B8C40}" presName="text" presStyleLbl="fgAcc0" presStyleIdx="0" presStyleCnt="1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s-ES"/>
        </a:p>
      </dgm:t>
    </dgm:pt>
    <dgm:pt modelId="{F3725120-C393-AA45-AB12-141EF0630E7C}" type="pres">
      <dgm:prSet presAssocID="{2FF573F1-29F3-3242-B19A-A63A853B8C40}" presName="hierChild2" presStyleCnt="0"/>
      <dgm:spPr/>
    </dgm:pt>
    <dgm:pt modelId="{AC635A76-DB10-5D4B-BC54-A0243F20213F}" type="pres">
      <dgm:prSet presAssocID="{07BA5E50-988B-3B4C-A37F-972EFE47D14D}" presName="Name10" presStyleLbl="parChTrans1D2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697759" y="0"/>
              </a:moveTo>
              <a:lnTo>
                <a:pt x="697759" y="226296"/>
              </a:lnTo>
              <a:lnTo>
                <a:pt x="0" y="226296"/>
              </a:lnTo>
              <a:lnTo>
                <a:pt x="0" y="332070"/>
              </a:lnTo>
            </a:path>
          </a:pathLst>
        </a:custGeom>
      </dgm:spPr>
      <dgm:t>
        <a:bodyPr/>
        <a:lstStyle/>
        <a:p>
          <a:endParaRPr lang="es-ES"/>
        </a:p>
      </dgm:t>
    </dgm:pt>
    <dgm:pt modelId="{C60AC131-2A0D-3C42-A9F3-B556DEF5E72F}" type="pres">
      <dgm:prSet presAssocID="{D87CAC49-9249-9349-BEE1-19AD27B05DDF}" presName="hierRoot2" presStyleCnt="0"/>
      <dgm:spPr/>
    </dgm:pt>
    <dgm:pt modelId="{13D61A7B-7B36-7345-AE61-91839A75CCB4}" type="pres">
      <dgm:prSet presAssocID="{D87CAC49-9249-9349-BEE1-19AD27B05DDF}" presName="composite2" presStyleCnt="0"/>
      <dgm:spPr/>
    </dgm:pt>
    <dgm:pt modelId="{2A950EDE-090E-AA4F-8E4D-589FE05DCFDD}" type="pres">
      <dgm:prSet presAssocID="{D87CAC49-9249-9349-BEE1-19AD27B05DDF}" presName="background2" presStyleLbl="node2" presStyleIdx="0" presStyleCnt="2"/>
      <dgm:spPr>
        <a:xfrm>
          <a:off x="1295014" y="1057723"/>
          <a:ext cx="1141788" cy="725035"/>
        </a:xfrm>
        <a:prstGeom prst="roundRect">
          <a:avLst>
            <a:gd name="adj" fmla="val 10000"/>
          </a:avLst>
        </a:prstGeom>
        <a:solidFill>
          <a:srgbClr val="8064A2">
            <a:lumMod val="60000"/>
            <a:lumOff val="4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es-ES"/>
        </a:p>
      </dgm:t>
    </dgm:pt>
    <dgm:pt modelId="{90E21CC4-7715-814E-BFF2-744C7BD07900}" type="pres">
      <dgm:prSet presAssocID="{D87CAC49-9249-9349-BEE1-19AD27B05DDF}" presName="text2" presStyleLbl="fgAcc2" presStyleIdx="0" presStyleCnt="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s-ES"/>
        </a:p>
      </dgm:t>
    </dgm:pt>
    <dgm:pt modelId="{24E90E66-9362-2D43-B52C-CC02318155DF}" type="pres">
      <dgm:prSet presAssocID="{D87CAC49-9249-9349-BEE1-19AD27B05DDF}" presName="hierChild3" presStyleCnt="0"/>
      <dgm:spPr/>
    </dgm:pt>
    <dgm:pt modelId="{FFABCBB6-A752-D243-96D8-1C8F607519F4}" type="pres">
      <dgm:prSet presAssocID="{9DC8B27B-17D0-524B-82B8-48D7166CA4A2}" presName="Name17" presStyleLbl="parChTrans1D3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070"/>
              </a:lnTo>
            </a:path>
          </a:pathLst>
        </a:custGeom>
      </dgm:spPr>
      <dgm:t>
        <a:bodyPr/>
        <a:lstStyle/>
        <a:p>
          <a:endParaRPr lang="es-ES"/>
        </a:p>
      </dgm:t>
    </dgm:pt>
    <dgm:pt modelId="{3288DC35-FC7E-424E-944E-D665D32A26EA}" type="pres">
      <dgm:prSet presAssocID="{539F371E-BB7A-2B4F-A2A1-DFE35FAE91F9}" presName="hierRoot3" presStyleCnt="0"/>
      <dgm:spPr/>
    </dgm:pt>
    <dgm:pt modelId="{44279335-199A-9845-8A70-AA0C9BB38F65}" type="pres">
      <dgm:prSet presAssocID="{539F371E-BB7A-2B4F-A2A1-DFE35FAE91F9}" presName="composite3" presStyleCnt="0"/>
      <dgm:spPr/>
    </dgm:pt>
    <dgm:pt modelId="{7659C013-CB71-D543-94DE-D02DB2AC8411}" type="pres">
      <dgm:prSet presAssocID="{539F371E-BB7A-2B4F-A2A1-DFE35FAE91F9}" presName="background3" presStyleLbl="node3" presStyleIdx="0" presStyleCnt="2"/>
      <dgm:spPr>
        <a:xfrm>
          <a:off x="1295014" y="2114829"/>
          <a:ext cx="1141788" cy="725035"/>
        </a:xfrm>
        <a:prstGeom prst="roundRect">
          <a:avLst>
            <a:gd name="adj" fmla="val 10000"/>
          </a:avLst>
        </a:prstGeom>
        <a:solidFill>
          <a:srgbClr val="8064A2">
            <a:lumMod val="60000"/>
            <a:lumOff val="4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es-ES"/>
        </a:p>
      </dgm:t>
    </dgm:pt>
    <dgm:pt modelId="{6268F174-77E1-574C-ACB6-CD0DAEDA8323}" type="pres">
      <dgm:prSet presAssocID="{539F371E-BB7A-2B4F-A2A1-DFE35FAE91F9}" presName="text3" presStyleLbl="fgAcc3" presStyleIdx="0" presStyleCnt="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s-ES"/>
        </a:p>
      </dgm:t>
    </dgm:pt>
    <dgm:pt modelId="{93D43960-DB7D-AF4A-9B08-FD943A88D467}" type="pres">
      <dgm:prSet presAssocID="{539F371E-BB7A-2B4F-A2A1-DFE35FAE91F9}" presName="hierChild4" presStyleCnt="0"/>
      <dgm:spPr/>
    </dgm:pt>
    <dgm:pt modelId="{4454A9DF-8361-484E-81D7-3830C5DD4F2D}" type="pres">
      <dgm:prSet presAssocID="{97BFD818-F02C-6A48-AEF6-377795FA1560}" presName="Name10" presStyleLbl="parChTrans1D2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6296"/>
              </a:lnTo>
              <a:lnTo>
                <a:pt x="697759" y="226296"/>
              </a:lnTo>
              <a:lnTo>
                <a:pt x="697759" y="332070"/>
              </a:lnTo>
            </a:path>
          </a:pathLst>
        </a:custGeom>
      </dgm:spPr>
      <dgm:t>
        <a:bodyPr/>
        <a:lstStyle/>
        <a:p>
          <a:endParaRPr lang="es-ES"/>
        </a:p>
      </dgm:t>
    </dgm:pt>
    <dgm:pt modelId="{E392C021-B2E7-5043-A802-3C6E65CEF54A}" type="pres">
      <dgm:prSet presAssocID="{ADCBA9B1-2B11-AB4F-9B39-4B71C71CF68B}" presName="hierRoot2" presStyleCnt="0"/>
      <dgm:spPr/>
    </dgm:pt>
    <dgm:pt modelId="{5ED7DC27-8775-5A42-A051-1978F2DF4763}" type="pres">
      <dgm:prSet presAssocID="{ADCBA9B1-2B11-AB4F-9B39-4B71C71CF68B}" presName="composite2" presStyleCnt="0"/>
      <dgm:spPr/>
    </dgm:pt>
    <dgm:pt modelId="{5914C4C7-53AE-3E44-8A32-48DE1C76B87A}" type="pres">
      <dgm:prSet presAssocID="{ADCBA9B1-2B11-AB4F-9B39-4B71C71CF68B}" presName="background2" presStyleLbl="node2" presStyleIdx="1" presStyleCnt="2"/>
      <dgm:spPr>
        <a:xfrm>
          <a:off x="2690533" y="1057723"/>
          <a:ext cx="1141788" cy="72503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es-CO"/>
        </a:p>
      </dgm:t>
    </dgm:pt>
    <dgm:pt modelId="{B9A892DE-A2B8-0C4C-A00B-D4A48BB1595C}" type="pres">
      <dgm:prSet presAssocID="{ADCBA9B1-2B11-AB4F-9B39-4B71C71CF68B}" presName="text2" presStyleLbl="fgAcc2" presStyleIdx="1" presStyleCnt="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s-ES"/>
        </a:p>
      </dgm:t>
    </dgm:pt>
    <dgm:pt modelId="{87E1A47D-1CD8-6048-994A-DD34091D07C9}" type="pres">
      <dgm:prSet presAssocID="{ADCBA9B1-2B11-AB4F-9B39-4B71C71CF68B}" presName="hierChild3" presStyleCnt="0"/>
      <dgm:spPr/>
    </dgm:pt>
    <dgm:pt modelId="{3AF9CA7B-3A2D-3E44-945A-64C24482B6B6}" type="pres">
      <dgm:prSet presAssocID="{8AFED817-A331-834C-A662-13B51584D3D6}" presName="Name17" presStyleLbl="parChTrans1D3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070"/>
              </a:lnTo>
            </a:path>
          </a:pathLst>
        </a:custGeom>
      </dgm:spPr>
      <dgm:t>
        <a:bodyPr/>
        <a:lstStyle/>
        <a:p>
          <a:endParaRPr lang="es-ES"/>
        </a:p>
      </dgm:t>
    </dgm:pt>
    <dgm:pt modelId="{7280B4B0-2F91-474A-8005-79625774853A}" type="pres">
      <dgm:prSet presAssocID="{FBBB4261-146C-1B4A-9223-F90C2ED7EA45}" presName="hierRoot3" presStyleCnt="0"/>
      <dgm:spPr/>
    </dgm:pt>
    <dgm:pt modelId="{5398552C-50CE-254D-B298-2956A8EF2AB6}" type="pres">
      <dgm:prSet presAssocID="{FBBB4261-146C-1B4A-9223-F90C2ED7EA45}" presName="composite3" presStyleCnt="0"/>
      <dgm:spPr/>
    </dgm:pt>
    <dgm:pt modelId="{A4EBBD17-AE90-5548-AEC0-E9AD6609DB00}" type="pres">
      <dgm:prSet presAssocID="{FBBB4261-146C-1B4A-9223-F90C2ED7EA45}" presName="background3" presStyleLbl="node3" presStyleIdx="1" presStyleCnt="2"/>
      <dgm:spPr>
        <a:xfrm>
          <a:off x="2690533" y="2114829"/>
          <a:ext cx="1141788" cy="725035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es-CO"/>
        </a:p>
      </dgm:t>
    </dgm:pt>
    <dgm:pt modelId="{183E8409-2401-924F-8089-2D1BB27D61C7}" type="pres">
      <dgm:prSet presAssocID="{FBBB4261-146C-1B4A-9223-F90C2ED7EA45}" presName="text3" presStyleLbl="fgAcc3" presStyleIdx="1" presStyleCnt="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s-ES"/>
        </a:p>
      </dgm:t>
    </dgm:pt>
    <dgm:pt modelId="{8D1C4C97-00D9-894A-923B-6E3FE624A69B}" type="pres">
      <dgm:prSet presAssocID="{FBBB4261-146C-1B4A-9223-F90C2ED7EA45}" presName="hierChild4" presStyleCnt="0"/>
      <dgm:spPr/>
    </dgm:pt>
  </dgm:ptLst>
  <dgm:cxnLst>
    <dgm:cxn modelId="{5A611183-2B84-824A-AC6F-692BD19D7913}" type="presOf" srcId="{07BA5E50-988B-3B4C-A37F-972EFE47D14D}" destId="{AC635A76-DB10-5D4B-BC54-A0243F20213F}" srcOrd="0" destOrd="0" presId="urn:microsoft.com/office/officeart/2005/8/layout/hierarchy1"/>
    <dgm:cxn modelId="{0046D0B2-DC01-664A-B528-269FF3B08B98}" type="presOf" srcId="{ADCBA9B1-2B11-AB4F-9B39-4B71C71CF68B}" destId="{B9A892DE-A2B8-0C4C-A00B-D4A48BB1595C}" srcOrd="0" destOrd="0" presId="urn:microsoft.com/office/officeart/2005/8/layout/hierarchy1"/>
    <dgm:cxn modelId="{025D2E32-3BB1-5343-A216-86C1106C835F}" type="presOf" srcId="{97BFD818-F02C-6A48-AEF6-377795FA1560}" destId="{4454A9DF-8361-484E-81D7-3830C5DD4F2D}" srcOrd="0" destOrd="0" presId="urn:microsoft.com/office/officeart/2005/8/layout/hierarchy1"/>
    <dgm:cxn modelId="{E76BA361-59C1-E04D-BC13-8C499ACCD1F9}" srcId="{ADCBA9B1-2B11-AB4F-9B39-4B71C71CF68B}" destId="{FBBB4261-146C-1B4A-9223-F90C2ED7EA45}" srcOrd="0" destOrd="0" parTransId="{8AFED817-A331-834C-A662-13B51584D3D6}" sibTransId="{095B02E2-0F5D-234E-B2D6-7B2895F9F2FA}"/>
    <dgm:cxn modelId="{895FF2EB-36AE-D54F-8122-753ADB024F05}" srcId="{2FF573F1-29F3-3242-B19A-A63A853B8C40}" destId="{ADCBA9B1-2B11-AB4F-9B39-4B71C71CF68B}" srcOrd="1" destOrd="0" parTransId="{97BFD818-F02C-6A48-AEF6-377795FA1560}" sibTransId="{A3024ED7-A28F-F74A-9CEA-19EDA7881258}"/>
    <dgm:cxn modelId="{A0DF202C-0242-A34A-AD7D-83868BEEE537}" type="presOf" srcId="{8AFED817-A331-834C-A662-13B51584D3D6}" destId="{3AF9CA7B-3A2D-3E44-945A-64C24482B6B6}" srcOrd="0" destOrd="0" presId="urn:microsoft.com/office/officeart/2005/8/layout/hierarchy1"/>
    <dgm:cxn modelId="{D2EB35D5-A362-9442-ADF4-3FB9890F27C9}" type="presOf" srcId="{FEE9CE44-50C4-6848-BAE2-2A276496591B}" destId="{9EE016BF-DD0C-A340-B62D-F79D701A9438}" srcOrd="0" destOrd="0" presId="urn:microsoft.com/office/officeart/2005/8/layout/hierarchy1"/>
    <dgm:cxn modelId="{9CB5F5E0-3D95-ED40-A830-CE257E0F9DCA}" type="presOf" srcId="{539F371E-BB7A-2B4F-A2A1-DFE35FAE91F9}" destId="{6268F174-77E1-574C-ACB6-CD0DAEDA8323}" srcOrd="0" destOrd="0" presId="urn:microsoft.com/office/officeart/2005/8/layout/hierarchy1"/>
    <dgm:cxn modelId="{CA9BB2D4-43B4-FC46-A6B3-901EDB361DC6}" type="presOf" srcId="{FBBB4261-146C-1B4A-9223-F90C2ED7EA45}" destId="{183E8409-2401-924F-8089-2D1BB27D61C7}" srcOrd="0" destOrd="0" presId="urn:microsoft.com/office/officeart/2005/8/layout/hierarchy1"/>
    <dgm:cxn modelId="{3588431A-3583-9643-841D-8EA39618D59D}" type="presOf" srcId="{9DC8B27B-17D0-524B-82B8-48D7166CA4A2}" destId="{FFABCBB6-A752-D243-96D8-1C8F607519F4}" srcOrd="0" destOrd="0" presId="urn:microsoft.com/office/officeart/2005/8/layout/hierarchy1"/>
    <dgm:cxn modelId="{B1B8D99C-DF8F-4B41-A9BD-CD13CEDBBB7F}" type="presOf" srcId="{2FF573F1-29F3-3242-B19A-A63A853B8C40}" destId="{A04FF1B2-6789-8043-A6E7-FF389A7B1C10}" srcOrd="0" destOrd="0" presId="urn:microsoft.com/office/officeart/2005/8/layout/hierarchy1"/>
    <dgm:cxn modelId="{635F903F-4015-3D47-96E1-B770A15CF93E}" srcId="{D87CAC49-9249-9349-BEE1-19AD27B05DDF}" destId="{539F371E-BB7A-2B4F-A2A1-DFE35FAE91F9}" srcOrd="0" destOrd="0" parTransId="{9DC8B27B-17D0-524B-82B8-48D7166CA4A2}" sibTransId="{445BC067-FD91-6541-BF01-A88650F8DFBC}"/>
    <dgm:cxn modelId="{4BEE1B5C-DD3C-B241-9C4B-9628277C6F61}" srcId="{2FF573F1-29F3-3242-B19A-A63A853B8C40}" destId="{D87CAC49-9249-9349-BEE1-19AD27B05DDF}" srcOrd="0" destOrd="0" parTransId="{07BA5E50-988B-3B4C-A37F-972EFE47D14D}" sibTransId="{C634983C-B376-1D4E-BDC0-7B6A06804C63}"/>
    <dgm:cxn modelId="{E16FCDC9-0BEA-D943-9B7B-9B1C3B9B6306}" srcId="{FEE9CE44-50C4-6848-BAE2-2A276496591B}" destId="{2FF573F1-29F3-3242-B19A-A63A853B8C40}" srcOrd="0" destOrd="0" parTransId="{257BBE7B-B56C-6E45-9453-DA5180597D8D}" sibTransId="{E18435B1-1B5D-E446-91ED-301ADAA2A24F}"/>
    <dgm:cxn modelId="{84E6DF2D-BE05-214F-8D14-42B75C3D620B}" type="presOf" srcId="{D87CAC49-9249-9349-BEE1-19AD27B05DDF}" destId="{90E21CC4-7715-814E-BFF2-744C7BD07900}" srcOrd="0" destOrd="0" presId="urn:microsoft.com/office/officeart/2005/8/layout/hierarchy1"/>
    <dgm:cxn modelId="{0A3E9D11-6DCA-E64D-9668-B1515E737ADF}" type="presParOf" srcId="{9EE016BF-DD0C-A340-B62D-F79D701A9438}" destId="{1336D1C9-2542-CB4F-9E63-67809CFDD43A}" srcOrd="0" destOrd="0" presId="urn:microsoft.com/office/officeart/2005/8/layout/hierarchy1"/>
    <dgm:cxn modelId="{FD1CA412-D1E2-CA4E-9BD1-4EB719E27095}" type="presParOf" srcId="{1336D1C9-2542-CB4F-9E63-67809CFDD43A}" destId="{9F3C52FF-AF08-EA41-9DDB-6FDCD82E9623}" srcOrd="0" destOrd="0" presId="urn:microsoft.com/office/officeart/2005/8/layout/hierarchy1"/>
    <dgm:cxn modelId="{79CC8CD4-F777-D640-8947-8131B521708E}" type="presParOf" srcId="{9F3C52FF-AF08-EA41-9DDB-6FDCD82E9623}" destId="{AA1ACE00-454E-E24D-94DD-4B53F5FB4171}" srcOrd="0" destOrd="0" presId="urn:microsoft.com/office/officeart/2005/8/layout/hierarchy1"/>
    <dgm:cxn modelId="{3815A7D6-74EE-7F42-8746-C7DC766E718D}" type="presParOf" srcId="{9F3C52FF-AF08-EA41-9DDB-6FDCD82E9623}" destId="{A04FF1B2-6789-8043-A6E7-FF389A7B1C10}" srcOrd="1" destOrd="0" presId="urn:microsoft.com/office/officeart/2005/8/layout/hierarchy1"/>
    <dgm:cxn modelId="{22DE3290-9C69-F640-A8D6-27F871DC31B6}" type="presParOf" srcId="{1336D1C9-2542-CB4F-9E63-67809CFDD43A}" destId="{F3725120-C393-AA45-AB12-141EF0630E7C}" srcOrd="1" destOrd="0" presId="urn:microsoft.com/office/officeart/2005/8/layout/hierarchy1"/>
    <dgm:cxn modelId="{78F7D8F2-6429-6548-BAFC-3A047B536172}" type="presParOf" srcId="{F3725120-C393-AA45-AB12-141EF0630E7C}" destId="{AC635A76-DB10-5D4B-BC54-A0243F20213F}" srcOrd="0" destOrd="0" presId="urn:microsoft.com/office/officeart/2005/8/layout/hierarchy1"/>
    <dgm:cxn modelId="{0B035F49-4364-F845-B84C-EAB59F846A31}" type="presParOf" srcId="{F3725120-C393-AA45-AB12-141EF0630E7C}" destId="{C60AC131-2A0D-3C42-A9F3-B556DEF5E72F}" srcOrd="1" destOrd="0" presId="urn:microsoft.com/office/officeart/2005/8/layout/hierarchy1"/>
    <dgm:cxn modelId="{9F9F5DDA-B5F2-5E40-8B79-340EB05567E5}" type="presParOf" srcId="{C60AC131-2A0D-3C42-A9F3-B556DEF5E72F}" destId="{13D61A7B-7B36-7345-AE61-91839A75CCB4}" srcOrd="0" destOrd="0" presId="urn:microsoft.com/office/officeart/2005/8/layout/hierarchy1"/>
    <dgm:cxn modelId="{642BACF9-CE55-D84F-B5D3-D47C65FB626B}" type="presParOf" srcId="{13D61A7B-7B36-7345-AE61-91839A75CCB4}" destId="{2A950EDE-090E-AA4F-8E4D-589FE05DCFDD}" srcOrd="0" destOrd="0" presId="urn:microsoft.com/office/officeart/2005/8/layout/hierarchy1"/>
    <dgm:cxn modelId="{1AC8A99C-7CAE-774D-96D0-C4D84A61E517}" type="presParOf" srcId="{13D61A7B-7B36-7345-AE61-91839A75CCB4}" destId="{90E21CC4-7715-814E-BFF2-744C7BD07900}" srcOrd="1" destOrd="0" presId="urn:microsoft.com/office/officeart/2005/8/layout/hierarchy1"/>
    <dgm:cxn modelId="{AC45814A-D841-A440-8C3F-63BC751346B9}" type="presParOf" srcId="{C60AC131-2A0D-3C42-A9F3-B556DEF5E72F}" destId="{24E90E66-9362-2D43-B52C-CC02318155DF}" srcOrd="1" destOrd="0" presId="urn:microsoft.com/office/officeart/2005/8/layout/hierarchy1"/>
    <dgm:cxn modelId="{FD8FD9C8-6E04-F544-8A27-3080A9BE8594}" type="presParOf" srcId="{24E90E66-9362-2D43-B52C-CC02318155DF}" destId="{FFABCBB6-A752-D243-96D8-1C8F607519F4}" srcOrd="0" destOrd="0" presId="urn:microsoft.com/office/officeart/2005/8/layout/hierarchy1"/>
    <dgm:cxn modelId="{3F116BBA-19D9-624F-A63E-02446ED33919}" type="presParOf" srcId="{24E90E66-9362-2D43-B52C-CC02318155DF}" destId="{3288DC35-FC7E-424E-944E-D665D32A26EA}" srcOrd="1" destOrd="0" presId="urn:microsoft.com/office/officeart/2005/8/layout/hierarchy1"/>
    <dgm:cxn modelId="{1B92B35C-2ACF-694E-8621-DE00BEBF753F}" type="presParOf" srcId="{3288DC35-FC7E-424E-944E-D665D32A26EA}" destId="{44279335-199A-9845-8A70-AA0C9BB38F65}" srcOrd="0" destOrd="0" presId="urn:microsoft.com/office/officeart/2005/8/layout/hierarchy1"/>
    <dgm:cxn modelId="{E76796F4-A73C-EC47-86B5-3CA1AD862083}" type="presParOf" srcId="{44279335-199A-9845-8A70-AA0C9BB38F65}" destId="{7659C013-CB71-D543-94DE-D02DB2AC8411}" srcOrd="0" destOrd="0" presId="urn:microsoft.com/office/officeart/2005/8/layout/hierarchy1"/>
    <dgm:cxn modelId="{F9FA6953-9A45-6940-96B4-133FBC38D65E}" type="presParOf" srcId="{44279335-199A-9845-8A70-AA0C9BB38F65}" destId="{6268F174-77E1-574C-ACB6-CD0DAEDA8323}" srcOrd="1" destOrd="0" presId="urn:microsoft.com/office/officeart/2005/8/layout/hierarchy1"/>
    <dgm:cxn modelId="{A52EDD2A-C5B8-DE4A-AE9F-9F128B25531B}" type="presParOf" srcId="{3288DC35-FC7E-424E-944E-D665D32A26EA}" destId="{93D43960-DB7D-AF4A-9B08-FD943A88D467}" srcOrd="1" destOrd="0" presId="urn:microsoft.com/office/officeart/2005/8/layout/hierarchy1"/>
    <dgm:cxn modelId="{6CB666A4-B2B5-B848-A162-152010EAD6CA}" type="presParOf" srcId="{F3725120-C393-AA45-AB12-141EF0630E7C}" destId="{4454A9DF-8361-484E-81D7-3830C5DD4F2D}" srcOrd="2" destOrd="0" presId="urn:microsoft.com/office/officeart/2005/8/layout/hierarchy1"/>
    <dgm:cxn modelId="{465A0F7C-AC8A-DE4B-A6EB-B48EC0F83CDD}" type="presParOf" srcId="{F3725120-C393-AA45-AB12-141EF0630E7C}" destId="{E392C021-B2E7-5043-A802-3C6E65CEF54A}" srcOrd="3" destOrd="0" presId="urn:microsoft.com/office/officeart/2005/8/layout/hierarchy1"/>
    <dgm:cxn modelId="{75A59F19-E7D9-3C43-98D0-B3AA3366B01D}" type="presParOf" srcId="{E392C021-B2E7-5043-A802-3C6E65CEF54A}" destId="{5ED7DC27-8775-5A42-A051-1978F2DF4763}" srcOrd="0" destOrd="0" presId="urn:microsoft.com/office/officeart/2005/8/layout/hierarchy1"/>
    <dgm:cxn modelId="{313BF239-B092-CD48-BA72-91CB00248521}" type="presParOf" srcId="{5ED7DC27-8775-5A42-A051-1978F2DF4763}" destId="{5914C4C7-53AE-3E44-8A32-48DE1C76B87A}" srcOrd="0" destOrd="0" presId="urn:microsoft.com/office/officeart/2005/8/layout/hierarchy1"/>
    <dgm:cxn modelId="{EA00F3A4-E926-4D45-A5A7-0F5D33224DE5}" type="presParOf" srcId="{5ED7DC27-8775-5A42-A051-1978F2DF4763}" destId="{B9A892DE-A2B8-0C4C-A00B-D4A48BB1595C}" srcOrd="1" destOrd="0" presId="urn:microsoft.com/office/officeart/2005/8/layout/hierarchy1"/>
    <dgm:cxn modelId="{C5778A58-FF49-FF4B-8EF7-134565BDF8FF}" type="presParOf" srcId="{E392C021-B2E7-5043-A802-3C6E65CEF54A}" destId="{87E1A47D-1CD8-6048-994A-DD34091D07C9}" srcOrd="1" destOrd="0" presId="urn:microsoft.com/office/officeart/2005/8/layout/hierarchy1"/>
    <dgm:cxn modelId="{E9D30BF2-CA10-B642-A291-1AD5A105076C}" type="presParOf" srcId="{87E1A47D-1CD8-6048-994A-DD34091D07C9}" destId="{3AF9CA7B-3A2D-3E44-945A-64C24482B6B6}" srcOrd="0" destOrd="0" presId="urn:microsoft.com/office/officeart/2005/8/layout/hierarchy1"/>
    <dgm:cxn modelId="{49DC2F0F-84F9-0348-9263-D00CB1781D78}" type="presParOf" srcId="{87E1A47D-1CD8-6048-994A-DD34091D07C9}" destId="{7280B4B0-2F91-474A-8005-79625774853A}" srcOrd="1" destOrd="0" presId="urn:microsoft.com/office/officeart/2005/8/layout/hierarchy1"/>
    <dgm:cxn modelId="{311777A9-480F-FF49-B7CA-18B8616084C8}" type="presParOf" srcId="{7280B4B0-2F91-474A-8005-79625774853A}" destId="{5398552C-50CE-254D-B298-2956A8EF2AB6}" srcOrd="0" destOrd="0" presId="urn:microsoft.com/office/officeart/2005/8/layout/hierarchy1"/>
    <dgm:cxn modelId="{359BA796-DC8B-8948-BE04-978CAD4137FD}" type="presParOf" srcId="{5398552C-50CE-254D-B298-2956A8EF2AB6}" destId="{A4EBBD17-AE90-5548-AEC0-E9AD6609DB00}" srcOrd="0" destOrd="0" presId="urn:microsoft.com/office/officeart/2005/8/layout/hierarchy1"/>
    <dgm:cxn modelId="{CB026068-2DEB-F046-9DFF-700BF781C4D1}" type="presParOf" srcId="{5398552C-50CE-254D-B298-2956A8EF2AB6}" destId="{183E8409-2401-924F-8089-2D1BB27D61C7}" srcOrd="1" destOrd="0" presId="urn:microsoft.com/office/officeart/2005/8/layout/hierarchy1"/>
    <dgm:cxn modelId="{B12B2D04-B085-4344-BB2F-AF567DE7E28E}" type="presParOf" srcId="{7280B4B0-2F91-474A-8005-79625774853A}" destId="{8D1C4C97-00D9-894A-923B-6E3FE624A69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4174B41-0BE0-4F8B-BA8E-D58F170EAA12}">
      <dsp:nvSpPr>
        <dsp:cNvPr id="0" name=""/>
        <dsp:cNvSpPr/>
      </dsp:nvSpPr>
      <dsp:spPr>
        <a:xfrm>
          <a:off x="1316230" y="460286"/>
          <a:ext cx="3077776" cy="3077776"/>
        </a:xfrm>
        <a:prstGeom prst="blockArc">
          <a:avLst>
            <a:gd name="adj1" fmla="val 11880000"/>
            <a:gd name="adj2" fmla="val 16200000"/>
            <a:gd name="adj3" fmla="val 4639"/>
          </a:avLst>
        </a:prstGeom>
        <a:solidFill>
          <a:srgbClr val="A6A6A6"/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521DA7-88A1-4D1E-802F-66CAE025223D}">
      <dsp:nvSpPr>
        <dsp:cNvPr id="0" name=""/>
        <dsp:cNvSpPr/>
      </dsp:nvSpPr>
      <dsp:spPr>
        <a:xfrm>
          <a:off x="1316230" y="460286"/>
          <a:ext cx="3077776" cy="3077776"/>
        </a:xfrm>
        <a:prstGeom prst="blockArc">
          <a:avLst>
            <a:gd name="adj1" fmla="val 7560000"/>
            <a:gd name="adj2" fmla="val 11880000"/>
            <a:gd name="adj3" fmla="val 4639"/>
          </a:avLst>
        </a:prstGeom>
        <a:solidFill>
          <a:srgbClr val="A6A6A6"/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6D88DA-A7B3-48DA-81D7-E2B79213F587}">
      <dsp:nvSpPr>
        <dsp:cNvPr id="0" name=""/>
        <dsp:cNvSpPr/>
      </dsp:nvSpPr>
      <dsp:spPr>
        <a:xfrm>
          <a:off x="1316230" y="460286"/>
          <a:ext cx="3077776" cy="3077776"/>
        </a:xfrm>
        <a:prstGeom prst="blockArc">
          <a:avLst>
            <a:gd name="adj1" fmla="val 3240000"/>
            <a:gd name="adj2" fmla="val 7560000"/>
            <a:gd name="adj3" fmla="val 4639"/>
          </a:avLst>
        </a:prstGeom>
        <a:solidFill>
          <a:srgbClr val="A6A6A6"/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DDEFAA-7662-43FE-9169-95647A1825BF}">
      <dsp:nvSpPr>
        <dsp:cNvPr id="0" name=""/>
        <dsp:cNvSpPr/>
      </dsp:nvSpPr>
      <dsp:spPr>
        <a:xfrm>
          <a:off x="1316230" y="460286"/>
          <a:ext cx="3077776" cy="3077776"/>
        </a:xfrm>
        <a:prstGeom prst="blockArc">
          <a:avLst>
            <a:gd name="adj1" fmla="val 20520000"/>
            <a:gd name="adj2" fmla="val 3240000"/>
            <a:gd name="adj3" fmla="val 4639"/>
          </a:avLst>
        </a:prstGeom>
        <a:solidFill>
          <a:srgbClr val="A6A6A6"/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EF0CD0-5B1C-4DE8-B3AB-486AECF653B1}">
      <dsp:nvSpPr>
        <dsp:cNvPr id="0" name=""/>
        <dsp:cNvSpPr/>
      </dsp:nvSpPr>
      <dsp:spPr>
        <a:xfrm>
          <a:off x="1316230" y="460286"/>
          <a:ext cx="3077776" cy="3077776"/>
        </a:xfrm>
        <a:prstGeom prst="blockArc">
          <a:avLst>
            <a:gd name="adj1" fmla="val 16200000"/>
            <a:gd name="adj2" fmla="val 20520000"/>
            <a:gd name="adj3" fmla="val 4639"/>
          </a:avLst>
        </a:prstGeom>
        <a:solidFill>
          <a:schemeClr val="bg1">
            <a:lumMod val="65000"/>
          </a:schemeClr>
        </a:solidFill>
        <a:ln>
          <a:solidFill>
            <a:schemeClr val="tx2">
              <a:lumMod val="20000"/>
              <a:lumOff val="80000"/>
            </a:schemeClr>
          </a:solidFill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4230AF-19EF-4218-9490-7DA1C6D58FFD}">
      <dsp:nvSpPr>
        <dsp:cNvPr id="0" name=""/>
        <dsp:cNvSpPr/>
      </dsp:nvSpPr>
      <dsp:spPr>
        <a:xfrm>
          <a:off x="2146915" y="1290971"/>
          <a:ext cx="1416406" cy="1416406"/>
        </a:xfrm>
        <a:prstGeom prst="ellipse">
          <a:avLst/>
        </a:prstGeom>
        <a:solidFill>
          <a:schemeClr val="bg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  <a:sp3d extrusionH="28000" prstMaterial="matte"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000" kern="1200" dirty="0" smtClean="0"/>
            <a:t>CIEN</a:t>
          </a:r>
          <a:endParaRPr lang="es-ES" sz="3000" kern="1200" dirty="0"/>
        </a:p>
      </dsp:txBody>
      <dsp:txXfrm>
        <a:off x="2146915" y="1290971"/>
        <a:ext cx="1416406" cy="1416406"/>
      </dsp:txXfrm>
    </dsp:sp>
    <dsp:sp modelId="{D6C184A8-C088-4D28-AF25-BDC6F16587BB}">
      <dsp:nvSpPr>
        <dsp:cNvPr id="0" name=""/>
        <dsp:cNvSpPr/>
      </dsp:nvSpPr>
      <dsp:spPr>
        <a:xfrm>
          <a:off x="2359376" y="237"/>
          <a:ext cx="991484" cy="991484"/>
        </a:xfrm>
        <a:prstGeom prst="ellipse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/>
            <a:t>CIER#1</a:t>
          </a:r>
          <a:endParaRPr lang="es-ES" sz="1400" kern="1200" dirty="0"/>
        </a:p>
      </dsp:txBody>
      <dsp:txXfrm>
        <a:off x="2359376" y="237"/>
        <a:ext cx="991484" cy="991484"/>
      </dsp:txXfrm>
    </dsp:sp>
    <dsp:sp modelId="{74A967A5-9FCF-40CB-9BD8-CA38B4CA2B36}">
      <dsp:nvSpPr>
        <dsp:cNvPr id="0" name=""/>
        <dsp:cNvSpPr/>
      </dsp:nvSpPr>
      <dsp:spPr>
        <a:xfrm>
          <a:off x="3788999" y="1038919"/>
          <a:ext cx="991484" cy="991484"/>
        </a:xfrm>
        <a:prstGeom prst="ellipse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/>
            <a:t>CIER#2</a:t>
          </a:r>
          <a:endParaRPr lang="es-ES" sz="1400" kern="1200" dirty="0"/>
        </a:p>
      </dsp:txBody>
      <dsp:txXfrm>
        <a:off x="3788999" y="1038919"/>
        <a:ext cx="991484" cy="991484"/>
      </dsp:txXfrm>
    </dsp:sp>
    <dsp:sp modelId="{E47AE497-BA30-41AD-89F7-8CA5DA99E3CC}">
      <dsp:nvSpPr>
        <dsp:cNvPr id="0" name=""/>
        <dsp:cNvSpPr/>
      </dsp:nvSpPr>
      <dsp:spPr>
        <a:xfrm>
          <a:off x="3242932" y="2719542"/>
          <a:ext cx="991484" cy="991484"/>
        </a:xfrm>
        <a:prstGeom prst="ellipse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/>
            <a:t>CIER#3</a:t>
          </a:r>
          <a:endParaRPr lang="es-ES" sz="1400" kern="1200" dirty="0"/>
        </a:p>
      </dsp:txBody>
      <dsp:txXfrm>
        <a:off x="3242932" y="2719542"/>
        <a:ext cx="991484" cy="991484"/>
      </dsp:txXfrm>
    </dsp:sp>
    <dsp:sp modelId="{14C12537-87AB-42DE-8A55-31A2B122E14F}">
      <dsp:nvSpPr>
        <dsp:cNvPr id="0" name=""/>
        <dsp:cNvSpPr/>
      </dsp:nvSpPr>
      <dsp:spPr>
        <a:xfrm>
          <a:off x="1475820" y="2719542"/>
          <a:ext cx="991484" cy="991484"/>
        </a:xfrm>
        <a:prstGeom prst="ellipse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/>
            <a:t>CIER#4</a:t>
          </a:r>
          <a:endParaRPr lang="es-ES" sz="1400" kern="1200" dirty="0"/>
        </a:p>
      </dsp:txBody>
      <dsp:txXfrm>
        <a:off x="1475820" y="2719542"/>
        <a:ext cx="991484" cy="991484"/>
      </dsp:txXfrm>
    </dsp:sp>
    <dsp:sp modelId="{F00B0DB6-6242-464E-84DD-2EA788FFD048}">
      <dsp:nvSpPr>
        <dsp:cNvPr id="0" name=""/>
        <dsp:cNvSpPr/>
      </dsp:nvSpPr>
      <dsp:spPr>
        <a:xfrm>
          <a:off x="929752" y="1038919"/>
          <a:ext cx="991484" cy="991484"/>
        </a:xfrm>
        <a:prstGeom prst="ellipse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  <a:sp3d extrusionH="28000" prstMaterial="matte"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/>
            <a:t>CIER#5</a:t>
          </a:r>
          <a:endParaRPr lang="es-ES" sz="1400" kern="1200" dirty="0"/>
        </a:p>
      </dsp:txBody>
      <dsp:txXfrm>
        <a:off x="929752" y="1038919"/>
        <a:ext cx="991484" cy="99148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D486C1F-975A-B84C-88B3-FB4E52AD2371}">
      <dsp:nvSpPr>
        <dsp:cNvPr id="0" name=""/>
        <dsp:cNvSpPr/>
      </dsp:nvSpPr>
      <dsp:spPr>
        <a:xfrm rot="5400000">
          <a:off x="4691733" y="-1720771"/>
          <a:ext cx="1243880" cy="5001104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400" kern="1200" dirty="0" smtClean="0"/>
            <a:t>Fortalecer las competencias tecnológicas, pedagógicas, investigativas, comunicativas y de gestión de los docentes promoviendo prácticas educativas innovadoras</a:t>
          </a:r>
          <a:r>
            <a:rPr lang="es-ES_tradnl" sz="1300" kern="1200" dirty="0" smtClean="0"/>
            <a:t>. </a:t>
          </a:r>
          <a:endParaRPr lang="es-ES" sz="1300" kern="1200" dirty="0"/>
        </a:p>
      </dsp:txBody>
      <dsp:txXfrm rot="5400000">
        <a:off x="4691733" y="-1720771"/>
        <a:ext cx="1243880" cy="5001104"/>
      </dsp:txXfrm>
    </dsp:sp>
    <dsp:sp modelId="{FBCDF26F-68FA-FA49-BF86-BD925C462E61}">
      <dsp:nvSpPr>
        <dsp:cNvPr id="0" name=""/>
        <dsp:cNvSpPr/>
      </dsp:nvSpPr>
      <dsp:spPr>
        <a:xfrm>
          <a:off x="0" y="2355"/>
          <a:ext cx="2813121" cy="155485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900" kern="1200" dirty="0" smtClean="0"/>
            <a:t>Objetivo</a:t>
          </a:r>
          <a:endParaRPr lang="es-ES" sz="3900" kern="1200" dirty="0"/>
        </a:p>
      </dsp:txBody>
      <dsp:txXfrm>
        <a:off x="0" y="2355"/>
        <a:ext cx="2813121" cy="1554850"/>
      </dsp:txXfrm>
    </dsp:sp>
    <dsp:sp modelId="{B3EF014C-6C30-B042-8DC8-BCFF98465F3B}">
      <dsp:nvSpPr>
        <dsp:cNvPr id="0" name=""/>
        <dsp:cNvSpPr/>
      </dsp:nvSpPr>
      <dsp:spPr>
        <a:xfrm rot="5400000">
          <a:off x="4691733" y="-88178"/>
          <a:ext cx="1243880" cy="5001104"/>
        </a:xfrm>
        <a:prstGeom prst="round2SameRect">
          <a:avLst/>
        </a:prstGeom>
        <a:solidFill>
          <a:schemeClr val="accent4">
            <a:tint val="40000"/>
            <a:alpha val="90000"/>
            <a:hueOff val="-1972853"/>
            <a:satOff val="11079"/>
            <a:lumOff val="704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-1972853"/>
              <a:satOff val="11079"/>
              <a:lumOff val="70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IER Norte: 3000 docentes</a:t>
          </a:r>
          <a:endParaRPr lang="es-E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IER Sur:3000 docentes</a:t>
          </a:r>
          <a:endParaRPr lang="es-E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IER Oriente: 3000 docentes</a:t>
          </a:r>
          <a:endParaRPr lang="es-ES" sz="1400" kern="1200" dirty="0"/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IER Occidente: 3000 docentes </a:t>
          </a:r>
          <a:endParaRPr lang="es-E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IER Centro: 4000 docentes</a:t>
          </a:r>
          <a:endParaRPr lang="es-ES" sz="1400" kern="1200" dirty="0"/>
        </a:p>
      </dsp:txBody>
      <dsp:txXfrm rot="5400000">
        <a:off x="4691733" y="-88178"/>
        <a:ext cx="1243880" cy="5001104"/>
      </dsp:txXfrm>
    </dsp:sp>
    <dsp:sp modelId="{1CF95174-D97A-284E-BBAF-11146DC24067}">
      <dsp:nvSpPr>
        <dsp:cNvPr id="0" name=""/>
        <dsp:cNvSpPr/>
      </dsp:nvSpPr>
      <dsp:spPr>
        <a:xfrm>
          <a:off x="0" y="1634948"/>
          <a:ext cx="2813121" cy="1554850"/>
        </a:xfrm>
        <a:prstGeom prst="roundRect">
          <a:avLst/>
        </a:prstGeom>
        <a:gradFill rotWithShape="0">
          <a:gsLst>
            <a:gs pos="0">
              <a:schemeClr val="accent4">
                <a:hueOff val="-2232385"/>
                <a:satOff val="13449"/>
                <a:lumOff val="1078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-2232385"/>
                <a:satOff val="13449"/>
                <a:lumOff val="1078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900" kern="1200" dirty="0" smtClean="0"/>
            <a:t>Metas</a:t>
          </a:r>
          <a:endParaRPr lang="es-ES" sz="3900" kern="1200" dirty="0"/>
        </a:p>
      </dsp:txBody>
      <dsp:txXfrm>
        <a:off x="0" y="1634948"/>
        <a:ext cx="2813121" cy="1554850"/>
      </dsp:txXfrm>
    </dsp:sp>
    <dsp:sp modelId="{91D43525-2CFC-4A48-A5B5-BCBA6D69922C}">
      <dsp:nvSpPr>
        <dsp:cNvPr id="0" name=""/>
        <dsp:cNvSpPr/>
      </dsp:nvSpPr>
      <dsp:spPr>
        <a:xfrm rot="5400000">
          <a:off x="4691733" y="1544414"/>
          <a:ext cx="1243880" cy="5001104"/>
        </a:xfrm>
        <a:prstGeom prst="round2SameRect">
          <a:avLst/>
        </a:prstGeom>
        <a:solidFill>
          <a:schemeClr val="accent4">
            <a:tint val="40000"/>
            <a:alpha val="90000"/>
            <a:hueOff val="-3945706"/>
            <a:satOff val="22157"/>
            <a:lumOff val="1408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-3945706"/>
              <a:satOff val="22157"/>
              <a:lumOff val="140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Durante el proceso de formación cada docente producirá: </a:t>
          </a:r>
          <a:endParaRPr lang="es-E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Una unidad didáctica con integración de TIC. </a:t>
          </a:r>
          <a:endParaRPr lang="es-E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Recursos Digitales.</a:t>
          </a:r>
          <a:endParaRPr lang="es-E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La sistematización de la experiencia de implementación de la unidad didáctica. </a:t>
          </a:r>
          <a:endParaRPr lang="es-ES" sz="1400" kern="1200" dirty="0"/>
        </a:p>
      </dsp:txBody>
      <dsp:txXfrm rot="5400000">
        <a:off x="4691733" y="1544414"/>
        <a:ext cx="1243880" cy="5001104"/>
      </dsp:txXfrm>
    </dsp:sp>
    <dsp:sp modelId="{0679F5A3-ED0C-334F-80EC-E8675BA4BFF5}">
      <dsp:nvSpPr>
        <dsp:cNvPr id="0" name=""/>
        <dsp:cNvSpPr/>
      </dsp:nvSpPr>
      <dsp:spPr>
        <a:xfrm>
          <a:off x="0" y="3267541"/>
          <a:ext cx="2813121" cy="1554850"/>
        </a:xfrm>
        <a:prstGeom prst="roundRect">
          <a:avLst/>
        </a:prstGeom>
        <a:gradFill rotWithShape="0">
          <a:gsLst>
            <a:gs pos="0">
              <a:schemeClr val="accent4">
                <a:hueOff val="-4464770"/>
                <a:satOff val="26899"/>
                <a:lumOff val="2156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-4464770"/>
                <a:satOff val="26899"/>
                <a:lumOff val="2156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8590" tIns="74295" rIns="148590" bIns="7429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900" kern="1200" dirty="0" smtClean="0"/>
            <a:t>Productos</a:t>
          </a:r>
          <a:endParaRPr lang="es-ES" sz="3900" kern="1200" dirty="0"/>
        </a:p>
      </dsp:txBody>
      <dsp:txXfrm>
        <a:off x="0" y="3267541"/>
        <a:ext cx="2813121" cy="155485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7BF228A-E9A3-8D44-9417-447CC0601E16}">
      <dsp:nvSpPr>
        <dsp:cNvPr id="0" name=""/>
        <dsp:cNvSpPr/>
      </dsp:nvSpPr>
      <dsp:spPr>
        <a:xfrm rot="5400000">
          <a:off x="296587" y="999170"/>
          <a:ext cx="888480" cy="1478411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1395B47-D939-E342-9AD1-BC2E7303AA11}">
      <dsp:nvSpPr>
        <dsp:cNvPr id="0" name=""/>
        <dsp:cNvSpPr/>
      </dsp:nvSpPr>
      <dsp:spPr>
        <a:xfrm>
          <a:off x="148277" y="1440897"/>
          <a:ext cx="1334717" cy="1169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Fase</a:t>
          </a:r>
          <a:r>
            <a:rPr lang="en-US" sz="1400" b="1" kern="1200" dirty="0" smtClean="0"/>
            <a:t> I Virtual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30 </a:t>
          </a:r>
          <a:r>
            <a:rPr lang="en-US" sz="1400" kern="1200" dirty="0" err="1" smtClean="0"/>
            <a:t>horas</a:t>
          </a: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3 </a:t>
          </a:r>
          <a:r>
            <a:rPr lang="en-US" sz="1400" kern="1200" dirty="0" err="1" smtClean="0"/>
            <a:t>semanas</a:t>
          </a:r>
          <a:endParaRPr lang="en-US" sz="1400" kern="1200" dirty="0"/>
        </a:p>
      </dsp:txBody>
      <dsp:txXfrm>
        <a:off x="148277" y="1440897"/>
        <a:ext cx="1334717" cy="1169958"/>
      </dsp:txXfrm>
    </dsp:sp>
    <dsp:sp modelId="{87FE88A9-6A1A-CA45-9D4E-DA55DD9A3FE0}">
      <dsp:nvSpPr>
        <dsp:cNvPr id="0" name=""/>
        <dsp:cNvSpPr/>
      </dsp:nvSpPr>
      <dsp:spPr>
        <a:xfrm>
          <a:off x="1231162" y="890328"/>
          <a:ext cx="251833" cy="25183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A35001F-1BBF-4D43-9972-24E01A2DD2BB}">
      <dsp:nvSpPr>
        <dsp:cNvPr id="0" name=""/>
        <dsp:cNvSpPr/>
      </dsp:nvSpPr>
      <dsp:spPr>
        <a:xfrm rot="5400000">
          <a:off x="1930542" y="594846"/>
          <a:ext cx="888480" cy="1478411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414394B-C5C6-D14D-90D8-9A98F27FCC64}">
      <dsp:nvSpPr>
        <dsp:cNvPr id="0" name=""/>
        <dsp:cNvSpPr/>
      </dsp:nvSpPr>
      <dsp:spPr>
        <a:xfrm>
          <a:off x="1782233" y="1036573"/>
          <a:ext cx="1334717" cy="1169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Fase</a:t>
          </a:r>
          <a:r>
            <a:rPr lang="en-US" sz="1400" b="1" kern="1200" dirty="0" smtClean="0"/>
            <a:t> 2 </a:t>
          </a:r>
          <a:r>
            <a:rPr lang="en-US" sz="1400" b="1" kern="1200" dirty="0" err="1" smtClean="0"/>
            <a:t>Presencial</a:t>
          </a:r>
          <a:endParaRPr lang="en-US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40 </a:t>
          </a:r>
          <a:r>
            <a:rPr lang="en-US" sz="1400" kern="1200" dirty="0" err="1" smtClean="0"/>
            <a:t>horas</a:t>
          </a: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1 </a:t>
          </a:r>
          <a:r>
            <a:rPr lang="en-US" sz="1400" kern="1200" dirty="0" err="1" smtClean="0"/>
            <a:t>semana</a:t>
          </a:r>
          <a:endParaRPr lang="en-US" sz="1400" kern="1200" dirty="0"/>
        </a:p>
      </dsp:txBody>
      <dsp:txXfrm>
        <a:off x="1782233" y="1036573"/>
        <a:ext cx="1334717" cy="1169958"/>
      </dsp:txXfrm>
    </dsp:sp>
    <dsp:sp modelId="{1F9B4DAF-5F39-9F4B-B95E-CA623E823D4A}">
      <dsp:nvSpPr>
        <dsp:cNvPr id="0" name=""/>
        <dsp:cNvSpPr/>
      </dsp:nvSpPr>
      <dsp:spPr>
        <a:xfrm>
          <a:off x="2865117" y="486004"/>
          <a:ext cx="251833" cy="25183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9FCA431-2759-AE43-86D3-6C25293368AE}">
      <dsp:nvSpPr>
        <dsp:cNvPr id="0" name=""/>
        <dsp:cNvSpPr/>
      </dsp:nvSpPr>
      <dsp:spPr>
        <a:xfrm rot="5400000">
          <a:off x="3564497" y="190523"/>
          <a:ext cx="888480" cy="1478411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A7A631B-39EF-A24F-9F16-87011925BB3F}">
      <dsp:nvSpPr>
        <dsp:cNvPr id="0" name=""/>
        <dsp:cNvSpPr/>
      </dsp:nvSpPr>
      <dsp:spPr>
        <a:xfrm>
          <a:off x="3416188" y="632249"/>
          <a:ext cx="1334717" cy="1169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Fase</a:t>
          </a:r>
          <a:r>
            <a:rPr lang="en-US" sz="1400" b="1" kern="1200" dirty="0" smtClean="0"/>
            <a:t> 3 Virtual </a:t>
          </a:r>
          <a:r>
            <a:rPr lang="en-US" sz="1400" kern="1200" dirty="0" smtClean="0"/>
            <a:t>20 </a:t>
          </a:r>
          <a:r>
            <a:rPr lang="en-US" sz="1400" kern="1200" dirty="0" err="1" smtClean="0"/>
            <a:t>horas</a:t>
          </a: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2 </a:t>
          </a:r>
          <a:r>
            <a:rPr lang="en-US" sz="1400" kern="1200" dirty="0" err="1" smtClean="0"/>
            <a:t>semanas</a:t>
          </a:r>
          <a:endParaRPr lang="en-US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416188" y="632249"/>
        <a:ext cx="1334717" cy="1169958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AF9CA7B-3A2D-3E44-945A-64C24482B6B6}">
      <dsp:nvSpPr>
        <dsp:cNvPr id="0" name=""/>
        <dsp:cNvSpPr/>
      </dsp:nvSpPr>
      <dsp:spPr>
        <a:xfrm>
          <a:off x="4922515" y="2731310"/>
          <a:ext cx="91440" cy="5087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070"/>
              </a:lnTo>
            </a:path>
          </a:pathLst>
        </a:custGeom>
        <a:noFill/>
        <a:ln w="9525" cap="flat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54A9DF-8361-484E-81D7-3830C5DD4F2D}">
      <dsp:nvSpPr>
        <dsp:cNvPr id="0" name=""/>
        <dsp:cNvSpPr/>
      </dsp:nvSpPr>
      <dsp:spPr>
        <a:xfrm>
          <a:off x="3899264" y="1111820"/>
          <a:ext cx="1068970" cy="508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6296"/>
              </a:lnTo>
              <a:lnTo>
                <a:pt x="697759" y="226296"/>
              </a:lnTo>
              <a:lnTo>
                <a:pt x="697759" y="332070"/>
              </a:lnTo>
            </a:path>
          </a:pathLst>
        </a:custGeom>
        <a:noFill/>
        <a:ln w="9525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BCBB6-A752-D243-96D8-1C8F607519F4}">
      <dsp:nvSpPr>
        <dsp:cNvPr id="0" name=""/>
        <dsp:cNvSpPr/>
      </dsp:nvSpPr>
      <dsp:spPr>
        <a:xfrm>
          <a:off x="2784574" y="2731310"/>
          <a:ext cx="91440" cy="5087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2070"/>
              </a:lnTo>
            </a:path>
          </a:pathLst>
        </a:custGeom>
        <a:noFill/>
        <a:ln w="9525" cap="flat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635A76-DB10-5D4B-BC54-A0243F20213F}">
      <dsp:nvSpPr>
        <dsp:cNvPr id="0" name=""/>
        <dsp:cNvSpPr/>
      </dsp:nvSpPr>
      <dsp:spPr>
        <a:xfrm>
          <a:off x="2830294" y="1111820"/>
          <a:ext cx="1068970" cy="508732"/>
        </a:xfrm>
        <a:custGeom>
          <a:avLst/>
          <a:gdLst/>
          <a:ahLst/>
          <a:cxnLst/>
          <a:rect l="0" t="0" r="0" b="0"/>
          <a:pathLst>
            <a:path>
              <a:moveTo>
                <a:pt x="697759" y="0"/>
              </a:moveTo>
              <a:lnTo>
                <a:pt x="697759" y="226296"/>
              </a:lnTo>
              <a:lnTo>
                <a:pt x="0" y="226296"/>
              </a:lnTo>
              <a:lnTo>
                <a:pt x="0" y="332070"/>
              </a:lnTo>
            </a:path>
          </a:pathLst>
        </a:custGeom>
        <a:noFill/>
        <a:ln w="9525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1ACE00-454E-E24D-94DD-4B53F5FB4171}">
      <dsp:nvSpPr>
        <dsp:cNvPr id="0" name=""/>
        <dsp:cNvSpPr/>
      </dsp:nvSpPr>
      <dsp:spPr>
        <a:xfrm>
          <a:off x="3024652" y="1062"/>
          <a:ext cx="1749224" cy="1110757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04FF1B2-6789-8043-A6E7-FF389A7B1C10}">
      <dsp:nvSpPr>
        <dsp:cNvPr id="0" name=""/>
        <dsp:cNvSpPr/>
      </dsp:nvSpPr>
      <dsp:spPr>
        <a:xfrm>
          <a:off x="3219010" y="185702"/>
          <a:ext cx="1749224" cy="111075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3000 cupos por CIER</a:t>
          </a:r>
        </a:p>
      </dsp:txBody>
      <dsp:txXfrm>
        <a:off x="3219010" y="185702"/>
        <a:ext cx="1749224" cy="1110757"/>
      </dsp:txXfrm>
    </dsp:sp>
    <dsp:sp modelId="{2A950EDE-090E-AA4F-8E4D-589FE05DCFDD}">
      <dsp:nvSpPr>
        <dsp:cNvPr id="0" name=""/>
        <dsp:cNvSpPr/>
      </dsp:nvSpPr>
      <dsp:spPr>
        <a:xfrm>
          <a:off x="1955681" y="1620552"/>
          <a:ext cx="1749224" cy="1110757"/>
        </a:xfrm>
        <a:prstGeom prst="roundRect">
          <a:avLst>
            <a:gd name="adj" fmla="val 10000"/>
          </a:avLst>
        </a:prstGeom>
        <a:solidFill>
          <a:srgbClr val="8064A2">
            <a:lumMod val="60000"/>
            <a:lumOff val="4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0E21CC4-7715-814E-BFF2-744C7BD07900}">
      <dsp:nvSpPr>
        <dsp:cNvPr id="0" name=""/>
        <dsp:cNvSpPr/>
      </dsp:nvSpPr>
      <dsp:spPr>
        <a:xfrm>
          <a:off x="2150040" y="1805193"/>
          <a:ext cx="1749224" cy="111075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64A2">
              <a:lumMod val="7500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80% de los cupos docentes de EPBM </a:t>
          </a:r>
        </a:p>
      </dsp:txBody>
      <dsp:txXfrm>
        <a:off x="2150040" y="1805193"/>
        <a:ext cx="1749224" cy="1110757"/>
      </dsp:txXfrm>
    </dsp:sp>
    <dsp:sp modelId="{7659C013-CB71-D543-94DE-D02DB2AC8411}">
      <dsp:nvSpPr>
        <dsp:cNvPr id="0" name=""/>
        <dsp:cNvSpPr/>
      </dsp:nvSpPr>
      <dsp:spPr>
        <a:xfrm>
          <a:off x="1955681" y="3240043"/>
          <a:ext cx="1749224" cy="1110757"/>
        </a:xfrm>
        <a:prstGeom prst="roundRect">
          <a:avLst>
            <a:gd name="adj" fmla="val 10000"/>
          </a:avLst>
        </a:prstGeom>
        <a:solidFill>
          <a:srgbClr val="8064A2">
            <a:lumMod val="60000"/>
            <a:lumOff val="4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268F174-77E1-574C-ACB6-CD0DAEDA8323}">
      <dsp:nvSpPr>
        <dsp:cNvPr id="0" name=""/>
        <dsp:cNvSpPr/>
      </dsp:nvSpPr>
      <dsp:spPr>
        <a:xfrm>
          <a:off x="2150040" y="3424683"/>
          <a:ext cx="1749224" cy="111075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8064A2">
              <a:lumMod val="7500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ínimo </a:t>
          </a:r>
          <a:r>
            <a:rPr lang="es-ES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2400 Cupo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3.5% - 11% de la planta docente por SE</a:t>
          </a:r>
        </a:p>
      </dsp:txBody>
      <dsp:txXfrm>
        <a:off x="2150040" y="3424683"/>
        <a:ext cx="1749224" cy="1110757"/>
      </dsp:txXfrm>
    </dsp:sp>
    <dsp:sp modelId="{5914C4C7-53AE-3E44-8A32-48DE1C76B87A}">
      <dsp:nvSpPr>
        <dsp:cNvPr id="0" name=""/>
        <dsp:cNvSpPr/>
      </dsp:nvSpPr>
      <dsp:spPr>
        <a:xfrm>
          <a:off x="4093623" y="1620552"/>
          <a:ext cx="1749224" cy="1110757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9A892DE-A2B8-0C4C-A00B-D4A48BB1595C}">
      <dsp:nvSpPr>
        <dsp:cNvPr id="0" name=""/>
        <dsp:cNvSpPr/>
      </dsp:nvSpPr>
      <dsp:spPr>
        <a:xfrm>
          <a:off x="4287981" y="1805193"/>
          <a:ext cx="1749224" cy="111075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áximo 20% de los cupos docentes de Superior </a:t>
          </a:r>
        </a:p>
      </dsp:txBody>
      <dsp:txXfrm>
        <a:off x="4287981" y="1805193"/>
        <a:ext cx="1749224" cy="1110757"/>
      </dsp:txXfrm>
    </dsp:sp>
    <dsp:sp modelId="{A4EBBD17-AE90-5548-AEC0-E9AD6609DB00}">
      <dsp:nvSpPr>
        <dsp:cNvPr id="0" name=""/>
        <dsp:cNvSpPr/>
      </dsp:nvSpPr>
      <dsp:spPr>
        <a:xfrm>
          <a:off x="4093623" y="3240043"/>
          <a:ext cx="1749224" cy="1110757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83E8409-2401-924F-8089-2D1BB27D61C7}">
      <dsp:nvSpPr>
        <dsp:cNvPr id="0" name=""/>
        <dsp:cNvSpPr/>
      </dsp:nvSpPr>
      <dsp:spPr>
        <a:xfrm>
          <a:off x="4287981" y="3424683"/>
          <a:ext cx="1749224" cy="111075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mbria"/>
              <a:ea typeface="+mn-ea"/>
              <a:cs typeface="+mn-cs"/>
            </a:rPr>
            <a:t>Máximo 600 con aprobación del ME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4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mbria"/>
            <a:ea typeface="+mn-ea"/>
            <a:cs typeface="+mn-cs"/>
          </a:endParaRPr>
        </a:p>
      </dsp:txBody>
      <dsp:txXfrm>
        <a:off x="4287981" y="3424683"/>
        <a:ext cx="1749224" cy="11107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defRPr sz="1200" b="0" i="0" u="none" strike="noStrike" cap="none" baseline="0"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defRPr sz="1800" b="0" i="0" u="none" strike="noStrike" cap="none" baseline="0"/>
            </a:lvl2pPr>
            <a:lvl3pPr marL="0" marR="0" indent="0" algn="l" rtl="0">
              <a:defRPr sz="1800" b="0" i="0" u="none" strike="noStrike" cap="none" baseline="0"/>
            </a:lvl3pPr>
            <a:lvl4pPr marL="0" marR="0" indent="0" algn="l" rtl="0">
              <a:defRPr sz="1800" b="0" i="0" u="none" strike="noStrike" cap="none" baseline="0"/>
            </a:lvl4pPr>
            <a:lvl5pPr marL="0" marR="0" indent="0" algn="l" rtl="0">
              <a:defRPr sz="1800" b="0" i="0" u="none" strike="noStrike" cap="none" baseline="0"/>
            </a:lvl5pPr>
            <a:lvl6pPr marL="0" marR="0" indent="0" algn="l" rtl="0">
              <a:defRPr sz="1800" b="0" i="0" u="none" strike="noStrike" cap="none" baseline="0"/>
            </a:lvl6pPr>
            <a:lvl7pPr marL="0" marR="0" indent="0" algn="l" rtl="0">
              <a:defRPr sz="1800" b="0" i="0" u="none" strike="noStrike" cap="none" baseline="0"/>
            </a:lvl7pPr>
            <a:lvl8pPr marL="0" marR="0" indent="0" algn="l" rtl="0">
              <a:defRPr sz="1800" b="0" i="0" u="none" strike="noStrike" cap="none" baseline="0"/>
            </a:lvl8pPr>
            <a:lvl9pPr marL="0" marR="0" indent="0" algn="l" rtl="0">
              <a:defRPr sz="1800" b="0" i="0" u="none" strike="noStrike" cap="none" baseline="0"/>
            </a:lvl9pPr>
          </a:lstStyle>
          <a:p>
            <a:endParaRPr/>
          </a:p>
        </p:txBody>
      </p:sp>
      <p:sp>
        <p:nvSpPr>
          <p:cNvPr id="3" name="Shape 3"/>
          <p:cNvSpPr txBox="1">
            <a:spLocks noGrp="1"/>
          </p:cNvSpPr>
          <p:nvPr>
            <p:ph type="dt" idx="10"/>
          </p:nvPr>
        </p:nvSpPr>
        <p:spPr>
          <a:xfrm>
            <a:off x="3884612" y="0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r" rtl="0">
              <a:defRPr sz="1200" b="0" i="0" u="none" strike="noStrike" cap="none" baseline="0"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defRPr sz="1800" b="0" i="0" u="none" strike="noStrike" cap="none" baseline="0"/>
            </a:lvl2pPr>
            <a:lvl3pPr marL="0" marR="0" indent="0" algn="l" rtl="0">
              <a:defRPr sz="1800" b="0" i="0" u="none" strike="noStrike" cap="none" baseline="0"/>
            </a:lvl3pPr>
            <a:lvl4pPr marL="0" marR="0" indent="0" algn="l" rtl="0">
              <a:defRPr sz="1800" b="0" i="0" u="none" strike="noStrike" cap="none" baseline="0"/>
            </a:lvl4pPr>
            <a:lvl5pPr marL="0" marR="0" indent="0" algn="l" rtl="0">
              <a:defRPr sz="1800" b="0" i="0" u="none" strike="noStrike" cap="none" baseline="0"/>
            </a:lvl5pPr>
            <a:lvl6pPr marL="0" marR="0" indent="0" algn="l" rtl="0">
              <a:defRPr sz="1800" b="0" i="0" u="none" strike="noStrike" cap="none" baseline="0"/>
            </a:lvl6pPr>
            <a:lvl7pPr marL="0" marR="0" indent="0" algn="l" rtl="0">
              <a:defRPr sz="1800" b="0" i="0" u="none" strike="noStrike" cap="none" baseline="0"/>
            </a:lvl7pPr>
            <a:lvl8pPr marL="0" marR="0" indent="0" algn="l" rtl="0">
              <a:defRPr sz="1800" b="0" i="0" u="none" strike="noStrike" cap="none" baseline="0"/>
            </a:lvl8pPr>
            <a:lvl9pPr marL="0" marR="0" indent="0" algn="l" rtl="0">
              <a:defRPr sz="1800" b="0" i="0" u="none" strike="noStrike" cap="none" baseline="0"/>
            </a:lvl9pPr>
          </a:lstStyle>
          <a:p>
            <a:endParaRPr/>
          </a:p>
        </p:txBody>
      </p:sp>
      <p:sp>
        <p:nvSpPr>
          <p:cNvPr id="4" name="Shape 4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5" name="Shape 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defRPr sz="1800" b="0" i="0" u="none" strike="noStrike" cap="none" baseline="0"/>
            </a:lvl1pPr>
            <a:lvl2pPr marL="0" marR="0" indent="0" algn="l" rtl="0">
              <a:defRPr sz="1800" b="0" i="0" u="none" strike="noStrike" cap="none" baseline="0"/>
            </a:lvl2pPr>
            <a:lvl3pPr marL="0" marR="0" indent="0" algn="l" rtl="0">
              <a:defRPr sz="1800" b="0" i="0" u="none" strike="noStrike" cap="none" baseline="0"/>
            </a:lvl3pPr>
            <a:lvl4pPr marL="0" marR="0" indent="0" algn="l" rtl="0">
              <a:defRPr sz="1800" b="0" i="0" u="none" strike="noStrike" cap="none" baseline="0"/>
            </a:lvl4pPr>
            <a:lvl5pPr marL="0" marR="0" indent="0" algn="l" rtl="0">
              <a:defRPr sz="1800" b="0" i="0" u="none" strike="noStrike" cap="none" baseline="0"/>
            </a:lvl5pPr>
            <a:lvl6pPr marL="0" marR="0" indent="0" algn="l" rtl="0">
              <a:defRPr sz="1800" b="0" i="0" u="none" strike="noStrike" cap="none" baseline="0"/>
            </a:lvl6pPr>
            <a:lvl7pPr marL="0" marR="0" indent="0" algn="l" rtl="0">
              <a:defRPr sz="1800" b="0" i="0" u="none" strike="noStrike" cap="none" baseline="0"/>
            </a:lvl7pPr>
            <a:lvl8pPr marL="0" marR="0" indent="0" algn="l" rtl="0">
              <a:defRPr sz="1800" b="0" i="0" u="none" strike="noStrike" cap="none" baseline="0"/>
            </a:lvl8pPr>
            <a:lvl9pPr marL="0" marR="0" indent="0" algn="l" rtl="0">
              <a:defRPr sz="1800" b="0" i="0" u="none" strike="noStrike" cap="none" baseline="0"/>
            </a:lvl9pPr>
          </a:lstStyle>
          <a:p>
            <a:endParaRPr/>
          </a:p>
        </p:txBody>
      </p:sp>
      <p:sp>
        <p:nvSpPr>
          <p:cNvPr id="6" name="Shape 6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indent="0" algn="l" rtl="0">
              <a:defRPr sz="1200" b="0" i="0" u="none" strike="noStrike" cap="none" baseline="0"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defRPr sz="1800" b="0" i="0" u="none" strike="noStrike" cap="none" baseline="0"/>
            </a:lvl2pPr>
            <a:lvl3pPr marL="0" marR="0" indent="0" algn="l" rtl="0">
              <a:defRPr sz="1800" b="0" i="0" u="none" strike="noStrike" cap="none" baseline="0"/>
            </a:lvl3pPr>
            <a:lvl4pPr marL="0" marR="0" indent="0" algn="l" rtl="0">
              <a:defRPr sz="1800" b="0" i="0" u="none" strike="noStrike" cap="none" baseline="0"/>
            </a:lvl4pPr>
            <a:lvl5pPr marL="0" marR="0" indent="0" algn="l" rtl="0">
              <a:defRPr sz="1800" b="0" i="0" u="none" strike="noStrike" cap="none" baseline="0"/>
            </a:lvl5pPr>
            <a:lvl6pPr marL="0" marR="0" indent="0" algn="l" rtl="0">
              <a:defRPr sz="1800" b="0" i="0" u="none" strike="noStrike" cap="none" baseline="0"/>
            </a:lvl6pPr>
            <a:lvl7pPr marL="0" marR="0" indent="0" algn="l" rtl="0">
              <a:defRPr sz="1800" b="0" i="0" u="none" strike="noStrike" cap="none" baseline="0"/>
            </a:lvl7pPr>
            <a:lvl8pPr marL="0" marR="0" indent="0" algn="l" rtl="0">
              <a:defRPr sz="1800" b="0" i="0" u="none" strike="noStrike" cap="none" baseline="0"/>
            </a:lvl8pPr>
            <a:lvl9pPr marL="0" marR="0" indent="0" algn="l" rtl="0">
              <a:defRPr sz="1800" b="0" i="0" u="none" strike="noStrike" cap="none" baseline="0"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indent="0" algn="r" rtl="0">
              <a:defRPr sz="1200" b="0" i="0" u="none" strike="noStrike" cap="none" baseline="0"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defRPr sz="1800" b="0" i="0" u="none" strike="noStrike" cap="none" baseline="0"/>
            </a:lvl2pPr>
            <a:lvl3pPr marL="0" marR="0" indent="0" algn="l" rtl="0">
              <a:defRPr sz="1800" b="0" i="0" u="none" strike="noStrike" cap="none" baseline="0"/>
            </a:lvl3pPr>
            <a:lvl4pPr marL="0" marR="0" indent="0" algn="l" rtl="0">
              <a:defRPr sz="1800" b="0" i="0" u="none" strike="noStrike" cap="none" baseline="0"/>
            </a:lvl4pPr>
            <a:lvl5pPr marL="0" marR="0" indent="0" algn="l" rtl="0">
              <a:defRPr sz="1800" b="0" i="0" u="none" strike="noStrike" cap="none" baseline="0"/>
            </a:lvl5pPr>
            <a:lvl6pPr marL="0" marR="0" indent="0" algn="l" rtl="0">
              <a:defRPr sz="1800" b="0" i="0" u="none" strike="noStrike" cap="none" baseline="0"/>
            </a:lvl6pPr>
            <a:lvl7pPr marL="0" marR="0" indent="0" algn="l" rtl="0">
              <a:defRPr sz="1800" b="0" i="0" u="none" strike="noStrike" cap="none" baseline="0"/>
            </a:lvl7pPr>
            <a:lvl8pPr marL="0" marR="0" indent="0" algn="l" rtl="0">
              <a:defRPr sz="1800" b="0" i="0" u="none" strike="noStrike" cap="none" baseline="0"/>
            </a:lvl8pPr>
            <a:lvl9pPr marL="0" marR="0" indent="0" algn="l" rtl="0">
              <a:defRPr sz="1800" b="0" i="0" u="none" strike="noStrike" cap="none" baseline="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273334168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51" name="Shape 5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799" cy="4572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buSzPct val="25000"/>
              <a:buFont typeface="Arial"/>
              <a:buNone/>
            </a:pPr>
            <a:r>
              <a:rPr lang="es-CO" sz="1200" b="0" i="0" u="none" strike="noStrike" cap="none" baseline="0"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47D17C-CBA5-4669-85C6-0F6EBB2F35EE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8513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bj" type="obj">
  <p:cSld name="obj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rtl="0">
              <a:defRPr sz="4000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57200" y="2714618"/>
            <a:ext cx="8229600" cy="341154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rtl="0">
              <a:defRPr>
                <a:latin typeface="Arial"/>
                <a:ea typeface="Arial"/>
                <a:cs typeface="Arial"/>
                <a:sym typeface="Arial"/>
              </a:defRPr>
            </a:lvl1pPr>
            <a:lvl2pPr rtl="0">
              <a:defRPr>
                <a:latin typeface="Arial"/>
                <a:ea typeface="Arial"/>
                <a:cs typeface="Arial"/>
                <a:sym typeface="Arial"/>
              </a:defRPr>
            </a:lvl2pPr>
            <a:lvl3pPr rtl="0">
              <a:defRPr>
                <a:latin typeface="Arial"/>
                <a:ea typeface="Arial"/>
                <a:cs typeface="Arial"/>
                <a:sym typeface="Arial"/>
              </a:defRPr>
            </a:lvl3pPr>
            <a:lvl4pPr rtl="0">
              <a:defRPr>
                <a:latin typeface="Arial"/>
                <a:ea typeface="Arial"/>
                <a:cs typeface="Arial"/>
                <a:sym typeface="Arial"/>
              </a:defRPr>
            </a:lvl4pPr>
            <a:lvl5pPr rtl="0">
              <a:defRPr>
                <a:latin typeface="Arial"/>
                <a:ea typeface="Arial"/>
                <a:cs typeface="Arial"/>
                <a:sym typeface="Arial"/>
              </a:defRPr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Head" type="secHead">
  <p:cSld name="secHead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722312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defRPr sz="4000" b="1" cap="none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29" name="Shape 29"/>
          <p:cNvSpPr txBox="1">
            <a:spLocks noGrp="1"/>
          </p:cNvSpPr>
          <p:nvPr>
            <p:ph type="body" idx="1"/>
          </p:nvPr>
        </p:nvSpPr>
        <p:spPr>
          <a:xfrm>
            <a:off x="722312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indent="0" rtl="0">
              <a:buClr>
                <a:srgbClr val="888888"/>
              </a:buClr>
              <a:buFont typeface="Arial"/>
              <a:buNone/>
              <a:defRPr sz="2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indent="0" rtl="0">
              <a:buClr>
                <a:srgbClr val="888888"/>
              </a:buClr>
              <a:buFont typeface="Calibri"/>
              <a:buNone/>
              <a:defRPr sz="1800">
                <a:solidFill>
                  <a:srgbClr val="888888"/>
                </a:solidFill>
              </a:defRPr>
            </a:lvl2pPr>
            <a:lvl3pPr marL="914400" indent="0" rtl="0">
              <a:buClr>
                <a:srgbClr val="888888"/>
              </a:buClr>
              <a:buFont typeface="Calibri"/>
              <a:buNone/>
              <a:defRPr sz="1600">
                <a:solidFill>
                  <a:srgbClr val="888888"/>
                </a:solidFill>
              </a:defRPr>
            </a:lvl3pPr>
            <a:lvl4pPr marL="13716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4pPr>
            <a:lvl5pPr marL="18288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5pPr>
            <a:lvl6pPr marL="22860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6pPr>
            <a:lvl7pPr marL="27432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7pPr>
            <a:lvl8pPr marL="32004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8pPr>
            <a:lvl9pPr marL="3657600" indent="0" rtl="0">
              <a:buClr>
                <a:srgbClr val="888888"/>
              </a:buClr>
              <a:buFont typeface="Calibri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x" type="picTx">
  <p:cSld name="picTx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 txBox="1">
            <a:spLocks noGrp="1"/>
          </p:cNvSpPr>
          <p:nvPr>
            <p:ph type="title"/>
          </p:nvPr>
        </p:nvSpPr>
        <p:spPr>
          <a:xfrm>
            <a:off x="285718" y="4800600"/>
            <a:ext cx="8572560" cy="5667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algn="ctr" rtl="0">
              <a:defRPr sz="2400" b="1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35" name="Shape 35"/>
          <p:cNvSpPr>
            <a:spLocks noGrp="1"/>
          </p:cNvSpPr>
          <p:nvPr>
            <p:ph type="pic" idx="2"/>
          </p:nvPr>
        </p:nvSpPr>
        <p:spPr>
          <a:xfrm>
            <a:off x="285718" y="1428733"/>
            <a:ext cx="8572560" cy="329883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3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285718" y="5367337"/>
            <a:ext cx="8572560" cy="4905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algn="ctr" rtl="0">
              <a:buFont typeface="Arial"/>
              <a:buNone/>
              <a:defRPr sz="2000" u="none">
                <a:latin typeface="Arial"/>
                <a:ea typeface="Arial"/>
                <a:cs typeface="Arial"/>
                <a:sym typeface="Arial"/>
              </a:defRPr>
            </a:lvl1pPr>
            <a:lvl2pPr marL="457200" indent="0" rtl="0">
              <a:buFont typeface="Calibri"/>
              <a:buNone/>
              <a:defRPr sz="1200"/>
            </a:lvl2pPr>
            <a:lvl3pPr marL="914400" indent="0" rtl="0">
              <a:buFont typeface="Calibri"/>
              <a:buNone/>
              <a:defRPr sz="1000"/>
            </a:lvl3pPr>
            <a:lvl4pPr marL="1371600" indent="0" rtl="0">
              <a:buFont typeface="Calibri"/>
              <a:buNone/>
              <a:defRPr sz="900"/>
            </a:lvl4pPr>
            <a:lvl5pPr marL="1828800" indent="0" rtl="0">
              <a:buFont typeface="Calibri"/>
              <a:buNone/>
              <a:defRPr sz="900"/>
            </a:lvl5pPr>
            <a:lvl6pPr marL="2286000" indent="0" rtl="0">
              <a:buFont typeface="Calibri"/>
              <a:buNone/>
              <a:defRPr sz="900"/>
            </a:lvl6pPr>
            <a:lvl7pPr marL="2743200" indent="0" rtl="0">
              <a:buFont typeface="Calibri"/>
              <a:buNone/>
              <a:defRPr sz="900"/>
            </a:lvl7pPr>
            <a:lvl8pPr marL="3200400" indent="0" rtl="0">
              <a:buFont typeface="Calibri"/>
              <a:buNone/>
              <a:defRPr sz="900"/>
            </a:lvl8pPr>
            <a:lvl9pPr marL="3657600" indent="0" rtl="0">
              <a:buFont typeface="Calibri"/>
              <a:buNone/>
              <a:defRPr sz="9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rtada">
  <p:cSld name="Portada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/>
          <p:nvPr/>
        </p:nvSpPr>
        <p:spPr>
          <a:xfrm>
            <a:off x="-117475" y="0"/>
            <a:ext cx="9442448" cy="6904036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</p:sp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722312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algn="l" rtl="0">
              <a:defRPr sz="4000" b="1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2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2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  <a:defRPr sz="1200" b="0" i="0" u="none" strike="noStrike" cap="none" baseline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59786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1062038"/>
            <a:ext cx="7772400" cy="1143000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endParaRPr lang="es-ES" sz="3200" b="0">
              <a:solidFill>
                <a:schemeClr val="tx2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2781300"/>
            <a:ext cx="7772400" cy="3314700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  <a:defRPr/>
            </a:pPr>
            <a:endParaRPr lang="es-ES" sz="3200" b="0">
              <a:latin typeface="Arial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8590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indent="-10795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32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indent="-762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indent="-47625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indent="-76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Char char="•"/>
              <a:defRPr sz="20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598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Arial"/>
              <a:buNone/>
              <a:defRPr sz="1200" b="0" i="0" u="none" strike="noStrike" cap="none" baseline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Shape 14"/>
          <p:cNvSpPr/>
          <p:nvPr/>
        </p:nvSpPr>
        <p:spPr>
          <a:xfrm>
            <a:off x="-26988" y="0"/>
            <a:ext cx="9282113" cy="685800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5" r:id="rId4"/>
    <p:sldLayoutId id="2147483656" r:id="rId5"/>
  </p:sldLayoutIdLst>
  <p:txStyles>
    <p:title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</p:titleStyle>
    <p:body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algn="l" rtl="0">
        <a:lnSpc>
          <a:spcPct val="100000"/>
        </a:lnSpc>
        <a:spcBef>
          <a:spcPts val="0"/>
        </a:spcBef>
        <a:spcAft>
          <a:spcPts val="0"/>
        </a:spcAft>
      </a:defPPr>
      <a:lvl1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 baseline="0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gcalderon@mineducacion.gov.co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3_3XKefLsig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6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10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notesSlide" Target="../notesSlides/notesSlide2.xml"/><Relationship Id="rId37" Type="http://schemas.openxmlformats.org/officeDocument/2006/relationships/image" Target="../media/image9.jpe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image" Target="../media/image8.jpe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slideLayout" Target="../slideLayouts/slideLayout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diagramLayout" Target="../diagrams/layout1.xml"/><Relationship Id="rId3" Type="http://schemas.openxmlformats.org/officeDocument/2006/relationships/tags" Target="../tags/tag31.xml"/><Relationship Id="rId21" Type="http://schemas.microsoft.com/office/2007/relationships/diagramDrawing" Target="../diagrams/drawing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diagramData" Target="../diagrams/data1.xml"/><Relationship Id="rId25" Type="http://schemas.openxmlformats.org/officeDocument/2006/relationships/image" Target="../media/image17.png"/><Relationship Id="rId2" Type="http://schemas.openxmlformats.org/officeDocument/2006/relationships/tags" Target="../tags/tag30.xml"/><Relationship Id="rId16" Type="http://schemas.openxmlformats.org/officeDocument/2006/relationships/oleObject" Target="../embeddings/oleObject2.bin"/><Relationship Id="rId20" Type="http://schemas.openxmlformats.org/officeDocument/2006/relationships/diagramColors" Target="../diagrams/colors1.xml"/><Relationship Id="rId1" Type="http://schemas.openxmlformats.org/officeDocument/2006/relationships/vmlDrawing" Target="../drawings/vmlDrawing2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6.png"/><Relationship Id="rId5" Type="http://schemas.openxmlformats.org/officeDocument/2006/relationships/tags" Target="../tags/tag33.xml"/><Relationship Id="rId15" Type="http://schemas.openxmlformats.org/officeDocument/2006/relationships/slideLayout" Target="../slideLayouts/slideLayout1.xml"/><Relationship Id="rId23" Type="http://schemas.openxmlformats.org/officeDocument/2006/relationships/image" Target="../media/image15.png"/><Relationship Id="rId10" Type="http://schemas.openxmlformats.org/officeDocument/2006/relationships/tags" Target="../tags/tag38.xml"/><Relationship Id="rId19" Type="http://schemas.openxmlformats.org/officeDocument/2006/relationships/diagramQuickStyle" Target="../diagrams/quickStyle1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4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 txBox="1">
            <a:spLocks noGrp="1"/>
          </p:cNvSpPr>
          <p:nvPr>
            <p:ph type="title"/>
          </p:nvPr>
        </p:nvSpPr>
        <p:spPr>
          <a:xfrm>
            <a:off x="395288" y="2348880"/>
            <a:ext cx="8748712" cy="107156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ct val="25000"/>
              <a:buFont typeface="Arial"/>
              <a:buNone/>
            </a:pPr>
            <a:r>
              <a:rPr lang="es-CO" sz="2400" i="1" dirty="0" smtClean="0"/>
              <a:t/>
            </a:r>
            <a:br>
              <a:rPr lang="es-CO" sz="2400" i="1" dirty="0" smtClean="0"/>
            </a:b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CT  </a:t>
            </a: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DUCATION CAPABILITY </a:t>
            </a:r>
            <a:r>
              <a:rPr lang="es-CO" sz="2400" b="1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UILDING </a:t>
            </a: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JECT</a:t>
            </a:r>
            <a:b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i="1" dirty="0" smtClean="0"/>
              <a:t>Proyecto </a:t>
            </a:r>
            <a:r>
              <a:rPr lang="es-CO" sz="2400" i="1" dirty="0" smtClean="0"/>
              <a:t>Centros de Innovación</a:t>
            </a:r>
            <a:br>
              <a:rPr lang="es-CO" sz="2400" i="1" dirty="0" smtClean="0"/>
            </a:br>
            <a:r>
              <a:rPr lang="es-CO" sz="2400" i="1" dirty="0" smtClean="0"/>
              <a:t/>
            </a:r>
            <a:br>
              <a:rPr lang="es-CO" sz="2400" i="1" dirty="0" smtClean="0"/>
            </a:br>
            <a:r>
              <a:rPr lang="es-CO" sz="2400" i="1" dirty="0" smtClean="0"/>
              <a:t>Componente </a:t>
            </a:r>
            <a:r>
              <a:rPr lang="es-CO" sz="2400" i="1" dirty="0" smtClean="0"/>
              <a:t>de Formación de Docentes</a:t>
            </a: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s-CO" sz="2400" b="1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0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ficina </a:t>
            </a:r>
            <a: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 Innovación Educativa </a:t>
            </a:r>
            <a:b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 Uso </a:t>
            </a:r>
            <a:r>
              <a:rPr lang="es-CO" sz="2400" b="0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de</a:t>
            </a:r>
            <a:r>
              <a:rPr lang="es-CO" sz="2400" b="0" i="1" u="none" strike="noStrike" cap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s-CO" sz="2400" b="0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Nuevas </a:t>
            </a:r>
            <a: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ecnologías</a:t>
            </a:r>
            <a:b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s-CO" sz="2400" b="0" i="1" u="none" strike="noStrike" cap="none" baseline="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s-CO" sz="2400" b="0" i="1" u="none" strike="noStrike" cap="none" baseline="0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9</a:t>
            </a:r>
            <a:r>
              <a:rPr lang="es-CO" sz="2400" b="0" i="1" dirty="0" smtClean="0"/>
              <a:t> </a:t>
            </a:r>
            <a:r>
              <a:rPr lang="es-CO" sz="2400" b="0" i="1" dirty="0" smtClean="0"/>
              <a:t>de Noviembre de 2013</a:t>
            </a:r>
            <a:endParaRPr lang="es-CO" sz="2400" b="0" i="1" u="none" strike="noStrike" cap="none" baseline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166624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44303" y="188640"/>
            <a:ext cx="4330824" cy="1070992"/>
          </a:xfrm>
        </p:spPr>
        <p:txBody>
          <a:bodyPr/>
          <a:lstStyle/>
          <a:p>
            <a:r>
              <a:rPr lang="es-ES" sz="1800" b="1" dirty="0" smtClean="0"/>
              <a:t>Programa de formación en uso y desarrollo de contenidos educativos digitales</a:t>
            </a:r>
            <a:endParaRPr lang="es-ES" sz="1800" b="1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5436096" y="2420888"/>
            <a:ext cx="3384376" cy="3240360"/>
          </a:xfrm>
        </p:spPr>
        <p:txBody>
          <a:bodyPr/>
          <a:lstStyle/>
          <a:p>
            <a:pPr marL="234950" indent="0" algn="just">
              <a:buNone/>
            </a:pPr>
            <a:r>
              <a:rPr lang="es-ES_tradnl" sz="2400" dirty="0"/>
              <a:t>  </a:t>
            </a:r>
          </a:p>
          <a:p>
            <a:pPr marL="234950" indent="0" algn="just">
              <a:buNone/>
            </a:pPr>
            <a:endParaRPr lang="es-ES_tradnl" sz="2400" dirty="0"/>
          </a:p>
          <a:p>
            <a:pPr marL="234950" indent="0" algn="just">
              <a:buNone/>
            </a:pPr>
            <a:endParaRPr lang="es-ES" sz="2400" dirty="0" smtClean="0"/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4523090" y="274759"/>
            <a:ext cx="4629200" cy="9269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000" b="0" i="0" u="none" strike="noStrike" cap="none" baseline="0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s-CO" sz="2000" b="1" dirty="0"/>
          </a:p>
        </p:txBody>
      </p:sp>
      <p:pic>
        <p:nvPicPr>
          <p:cNvPr id="6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949227"/>
            <a:ext cx="4500562" cy="385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Diagrama 8"/>
          <p:cNvGraphicFramePr/>
          <p:nvPr>
            <p:extLst>
              <p:ext uri="{D42A27DB-BD31-4B8C-83A1-F6EECF244321}">
                <p14:modId xmlns="" xmlns:p14="http://schemas.microsoft.com/office/powerpoint/2010/main" val="338591047"/>
              </p:ext>
            </p:extLst>
          </p:nvPr>
        </p:nvGraphicFramePr>
        <p:xfrm>
          <a:off x="179512" y="2564904"/>
          <a:ext cx="4752528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Pentágono 9"/>
          <p:cNvSpPr/>
          <p:nvPr/>
        </p:nvSpPr>
        <p:spPr>
          <a:xfrm>
            <a:off x="323850" y="4941888"/>
            <a:ext cx="4464050" cy="287337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CuadroTexto 4"/>
          <p:cNvSpPr txBox="1">
            <a:spLocks noChangeArrowheads="1"/>
          </p:cNvSpPr>
          <p:nvPr/>
        </p:nvSpPr>
        <p:spPr bwMode="auto">
          <a:xfrm>
            <a:off x="969963" y="5373688"/>
            <a:ext cx="26654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1600" dirty="0"/>
              <a:t>  6 </a:t>
            </a:r>
            <a:r>
              <a:rPr lang="en-US" sz="1600" dirty="0" err="1"/>
              <a:t>semanas</a:t>
            </a:r>
            <a:endParaRPr lang="en-US" sz="1600" dirty="0"/>
          </a:p>
        </p:txBody>
      </p:sp>
      <p:sp>
        <p:nvSpPr>
          <p:cNvPr id="12" name="Rectángulo 11"/>
          <p:cNvSpPr/>
          <p:nvPr/>
        </p:nvSpPr>
        <p:spPr>
          <a:xfrm>
            <a:off x="467544" y="1484784"/>
            <a:ext cx="4572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Font typeface="Arial" charset="0"/>
              <a:buChar char="•"/>
            </a:pPr>
            <a:r>
              <a:rPr lang="es-CO" i="1" dirty="0"/>
              <a:t>Modalidad b-learning</a:t>
            </a:r>
            <a:r>
              <a:rPr lang="es-CO" dirty="0"/>
              <a:t> </a:t>
            </a:r>
          </a:p>
          <a:p>
            <a:pPr algn="just">
              <a:buFont typeface="Arial" charset="0"/>
              <a:buChar char="•"/>
            </a:pPr>
            <a:r>
              <a:rPr lang="es-CO" dirty="0"/>
              <a:t>3 Fases (2 Virtuales 1 Presencial)</a:t>
            </a:r>
          </a:p>
          <a:p>
            <a:pPr algn="just">
              <a:buFont typeface="Arial" charset="0"/>
              <a:buChar char="•"/>
            </a:pPr>
            <a:r>
              <a:rPr lang="es-CO" dirty="0"/>
              <a:t>Liderada por formadores con experiencia en educación básica y media y en uso pedagógico de TIC. </a:t>
            </a:r>
          </a:p>
          <a:p>
            <a:pPr algn="just">
              <a:buFont typeface="Arial" charset="0"/>
              <a:buChar char="•"/>
            </a:pPr>
            <a:r>
              <a:rPr lang="es-CO" dirty="0"/>
              <a:t>Apoyada en una comunidad virtual.</a:t>
            </a:r>
          </a:p>
        </p:txBody>
      </p:sp>
    </p:spTree>
    <p:extLst>
      <p:ext uri="{BB962C8B-B14F-4D97-AF65-F5344CB8AC3E}">
        <p14:creationId xmlns="" xmlns:p14="http://schemas.microsoft.com/office/powerpoint/2010/main" val="44962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611560" y="1988840"/>
            <a:ext cx="777686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 dirty="0"/>
              <a:t> </a:t>
            </a:r>
            <a:endParaRPr lang="es-ES_tradnl" dirty="0"/>
          </a:p>
          <a:p>
            <a:pPr algn="just"/>
            <a:r>
              <a:rPr lang="es-ES_tradnl" sz="2400" dirty="0"/>
              <a:t>Cada docente recibirá un </a:t>
            </a:r>
            <a:r>
              <a:rPr lang="es-ES_tradnl" sz="2400" dirty="0" smtClean="0"/>
              <a:t>certificado (constancia) </a:t>
            </a:r>
            <a:r>
              <a:rPr lang="es-ES_tradnl" sz="2400" dirty="0"/>
              <a:t>de la formación realizada previo cumplimiento de los requisitos mínimos para la aprobación de la misma, esta certificación será reconocida por una organización autorizada Coreana y posiblemente por una universidad colombiana.</a:t>
            </a:r>
          </a:p>
          <a:p>
            <a:endParaRPr lang="es-ES" dirty="0"/>
          </a:p>
        </p:txBody>
      </p:sp>
      <p:sp>
        <p:nvSpPr>
          <p:cNvPr id="5" name="CuadroTexto 4"/>
          <p:cNvSpPr txBox="1"/>
          <p:nvPr/>
        </p:nvSpPr>
        <p:spPr>
          <a:xfrm>
            <a:off x="5220072" y="332656"/>
            <a:ext cx="3528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b="1" dirty="0">
                <a:solidFill>
                  <a:srgbClr val="800000"/>
                </a:solidFill>
              </a:rPr>
              <a:t>Certificación de la formación</a:t>
            </a:r>
            <a:endParaRPr lang="es-ES_tradnl" sz="2000" dirty="0">
              <a:solidFill>
                <a:srgbClr val="800000"/>
              </a:solidFill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302587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680" y="1340768"/>
            <a:ext cx="5179834" cy="288032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7704" y="4239498"/>
            <a:ext cx="5930403" cy="2213838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5076056" y="332656"/>
            <a:ext cx="3672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800" b="1" dirty="0" smtClean="0">
                <a:solidFill>
                  <a:srgbClr val="800000"/>
                </a:solidFill>
              </a:rPr>
              <a:t>Convocatoria e Inscripción de Docentes</a:t>
            </a:r>
            <a:endParaRPr lang="es-ES" sz="1800" b="1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1239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5148064" y="334397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 smtClean="0">
                <a:solidFill>
                  <a:schemeClr val="accent2">
                    <a:lumMod val="75000"/>
                  </a:schemeClr>
                </a:solidFill>
              </a:rPr>
              <a:t>Distribución de cupos por CIER</a:t>
            </a:r>
            <a:endParaRPr lang="es-ES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="" xmlns:p14="http://schemas.microsoft.com/office/powerpoint/2010/main" val="2365932907"/>
              </p:ext>
            </p:extLst>
          </p:nvPr>
        </p:nvGraphicFramePr>
        <p:xfrm>
          <a:off x="755576" y="1412777"/>
          <a:ext cx="7992888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413438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5148064" y="334397"/>
            <a:ext cx="3960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800" b="1" dirty="0" smtClean="0">
                <a:solidFill>
                  <a:schemeClr val="accent2">
                    <a:lumMod val="50000"/>
                  </a:schemeClr>
                </a:solidFill>
              </a:rPr>
              <a:t>Cupos Sugeridos por Secretaría de Educación</a:t>
            </a:r>
            <a:endParaRPr lang="es-ES" sz="18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6" y="1700808"/>
            <a:ext cx="8015370" cy="36004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16211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/>
          <p:cNvGrpSpPr/>
          <p:nvPr/>
        </p:nvGrpSpPr>
        <p:grpSpPr>
          <a:xfrm>
            <a:off x="395536" y="2492896"/>
            <a:ext cx="8568952" cy="2468018"/>
            <a:chOff x="611560" y="3573016"/>
            <a:chExt cx="8568952" cy="2468018"/>
          </a:xfrm>
        </p:grpSpPr>
        <p:sp>
          <p:nvSpPr>
            <p:cNvPr id="7" name="CuadroTexto 6"/>
            <p:cNvSpPr txBox="1"/>
            <p:nvPr/>
          </p:nvSpPr>
          <p:spPr>
            <a:xfrm>
              <a:off x="755576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1331640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2 </a:t>
              </a:r>
              <a:endParaRPr lang="es-E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9" name="CuadroTexto 8"/>
            <p:cNvSpPr txBox="1"/>
            <p:nvPr/>
          </p:nvSpPr>
          <p:spPr>
            <a:xfrm>
              <a:off x="1907704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3 </a:t>
              </a:r>
              <a:endParaRPr lang="es-E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2411760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4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2771800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 </a:t>
              </a:r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 M5 </a:t>
              </a:r>
              <a:endParaRPr lang="es-E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12" name="CuadroTexto 11"/>
            <p:cNvSpPr txBox="1"/>
            <p:nvPr/>
          </p:nvSpPr>
          <p:spPr>
            <a:xfrm>
              <a:off x="3491880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6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13" name="CuadroTexto 12"/>
            <p:cNvSpPr txBox="1"/>
            <p:nvPr/>
          </p:nvSpPr>
          <p:spPr>
            <a:xfrm>
              <a:off x="3995936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7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0" name="Rectángulo redondeado 19"/>
            <p:cNvSpPr/>
            <p:nvPr/>
          </p:nvSpPr>
          <p:spPr>
            <a:xfrm>
              <a:off x="2123728" y="4221088"/>
              <a:ext cx="2304256" cy="504056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 smtClean="0">
                  <a:solidFill>
                    <a:schemeClr val="bg2">
                      <a:lumMod val="75000"/>
                    </a:schemeClr>
                  </a:solidFill>
                </a:rPr>
                <a:t>Convocatoria e inscripción de docentes</a:t>
              </a:r>
              <a:endParaRPr lang="es-ES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  <p:sp>
          <p:nvSpPr>
            <p:cNvPr id="45" name="Flecha derecha 5"/>
            <p:cNvSpPr/>
            <p:nvPr/>
          </p:nvSpPr>
          <p:spPr>
            <a:xfrm>
              <a:off x="611560" y="3873529"/>
              <a:ext cx="8424936" cy="275551"/>
            </a:xfrm>
            <a:prstGeom prst="rightArrow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9" name="Flecha derecha 5"/>
            <p:cNvSpPr/>
            <p:nvPr/>
          </p:nvSpPr>
          <p:spPr>
            <a:xfrm>
              <a:off x="683568" y="5385697"/>
              <a:ext cx="8424936" cy="275551"/>
            </a:xfrm>
            <a:prstGeom prst="rightArrow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0" name="Rectángulo redondeado 39"/>
            <p:cNvSpPr/>
            <p:nvPr/>
          </p:nvSpPr>
          <p:spPr>
            <a:xfrm>
              <a:off x="3059832" y="4869160"/>
              <a:ext cx="1440160" cy="504056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3" name="CuadroTexto 42"/>
            <p:cNvSpPr txBox="1"/>
            <p:nvPr/>
          </p:nvSpPr>
          <p:spPr>
            <a:xfrm>
              <a:off x="2915816" y="4869160"/>
              <a:ext cx="172819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dirty="0" smtClean="0">
                  <a:solidFill>
                    <a:schemeClr val="bg2">
                      <a:lumMod val="50000"/>
                    </a:schemeClr>
                  </a:solidFill>
                </a:rPr>
                <a:t>Formación de Formadores</a:t>
              </a:r>
              <a:endParaRPr lang="es-ES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54" name="Rectángulo redondeado 53"/>
            <p:cNvSpPr/>
            <p:nvPr/>
          </p:nvSpPr>
          <p:spPr>
            <a:xfrm>
              <a:off x="4572000" y="4869160"/>
              <a:ext cx="4248472" cy="504055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dirty="0" smtClean="0">
                  <a:solidFill>
                    <a:srgbClr val="10253F"/>
                  </a:solidFill>
                </a:rPr>
                <a:t>Formación</a:t>
              </a:r>
              <a:r>
                <a:rPr lang="es-ES" dirty="0" smtClean="0"/>
                <a:t> </a:t>
              </a:r>
              <a:r>
                <a:rPr lang="es-ES" dirty="0" smtClean="0">
                  <a:solidFill>
                    <a:srgbClr val="10253F"/>
                  </a:solidFill>
                </a:rPr>
                <a:t>de Docentes</a:t>
              </a:r>
              <a:endParaRPr lang="es-ES" dirty="0">
                <a:solidFill>
                  <a:srgbClr val="10253F"/>
                </a:solidFill>
              </a:endParaRPr>
            </a:p>
          </p:txBody>
        </p:sp>
        <p:sp>
          <p:nvSpPr>
            <p:cNvPr id="56" name="CuadroTexto 55"/>
            <p:cNvSpPr txBox="1"/>
            <p:nvPr/>
          </p:nvSpPr>
          <p:spPr>
            <a:xfrm>
              <a:off x="4499992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8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57" name="CuadroTexto 56"/>
            <p:cNvSpPr txBox="1"/>
            <p:nvPr/>
          </p:nvSpPr>
          <p:spPr>
            <a:xfrm>
              <a:off x="5004048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9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58" name="CuadroTexto 57"/>
            <p:cNvSpPr txBox="1"/>
            <p:nvPr/>
          </p:nvSpPr>
          <p:spPr>
            <a:xfrm>
              <a:off x="5508104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0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59" name="CuadroTexto 58"/>
            <p:cNvSpPr txBox="1"/>
            <p:nvPr/>
          </p:nvSpPr>
          <p:spPr>
            <a:xfrm>
              <a:off x="6084168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1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60" name="CuadroTexto 59"/>
            <p:cNvSpPr txBox="1"/>
            <p:nvPr/>
          </p:nvSpPr>
          <p:spPr>
            <a:xfrm>
              <a:off x="8316416" y="3625279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5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61" name="CuadroTexto 60"/>
            <p:cNvSpPr txBox="1"/>
            <p:nvPr/>
          </p:nvSpPr>
          <p:spPr>
            <a:xfrm>
              <a:off x="7812360" y="3625279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4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62" name="CuadroTexto 61"/>
            <p:cNvSpPr txBox="1"/>
            <p:nvPr/>
          </p:nvSpPr>
          <p:spPr>
            <a:xfrm>
              <a:off x="7236296" y="3625279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3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63" name="CuadroTexto 62"/>
            <p:cNvSpPr txBox="1"/>
            <p:nvPr/>
          </p:nvSpPr>
          <p:spPr>
            <a:xfrm>
              <a:off x="6660232" y="357301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12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755576" y="5733257"/>
              <a:ext cx="7200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Dic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0" name="CuadroTexto 29"/>
            <p:cNvSpPr txBox="1"/>
            <p:nvPr/>
          </p:nvSpPr>
          <p:spPr>
            <a:xfrm>
              <a:off x="1259632" y="573325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Ene </a:t>
              </a:r>
              <a:endParaRPr lang="es-E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1763688" y="5733256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Feb  </a:t>
              </a:r>
              <a:endParaRPr lang="es-ES" b="1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2411760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Mar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3" name="CuadroTexto 32"/>
            <p:cNvSpPr txBox="1"/>
            <p:nvPr/>
          </p:nvSpPr>
          <p:spPr>
            <a:xfrm>
              <a:off x="2915816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Abr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4" name="CuadroTexto 33"/>
            <p:cNvSpPr txBox="1"/>
            <p:nvPr/>
          </p:nvSpPr>
          <p:spPr>
            <a:xfrm>
              <a:off x="3491880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err="1" smtClean="0">
                  <a:solidFill>
                    <a:schemeClr val="accent2">
                      <a:lumMod val="50000"/>
                    </a:schemeClr>
                  </a:solidFill>
                </a:rPr>
                <a:t>May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5" name="CuadroTexto 34"/>
            <p:cNvSpPr txBox="1"/>
            <p:nvPr/>
          </p:nvSpPr>
          <p:spPr>
            <a:xfrm>
              <a:off x="3995936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Jun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6" name="CuadroTexto 35"/>
            <p:cNvSpPr txBox="1"/>
            <p:nvPr/>
          </p:nvSpPr>
          <p:spPr>
            <a:xfrm>
              <a:off x="4499992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Jul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7" name="CuadroTexto 36"/>
            <p:cNvSpPr txBox="1"/>
            <p:nvPr/>
          </p:nvSpPr>
          <p:spPr>
            <a:xfrm>
              <a:off x="4932040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err="1" smtClean="0">
                  <a:solidFill>
                    <a:schemeClr val="accent2">
                      <a:lumMod val="50000"/>
                    </a:schemeClr>
                  </a:solidFill>
                </a:rPr>
                <a:t>Ago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38" name="CuadroTexto 37"/>
            <p:cNvSpPr txBox="1"/>
            <p:nvPr/>
          </p:nvSpPr>
          <p:spPr>
            <a:xfrm>
              <a:off x="5508104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err="1" smtClean="0">
                  <a:solidFill>
                    <a:schemeClr val="accent2">
                      <a:lumMod val="50000"/>
                    </a:schemeClr>
                  </a:solidFill>
                </a:rPr>
                <a:t>Sep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1" name="CuadroTexto 40"/>
            <p:cNvSpPr txBox="1"/>
            <p:nvPr/>
          </p:nvSpPr>
          <p:spPr>
            <a:xfrm>
              <a:off x="6156176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Oct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2" name="CuadroTexto 41"/>
            <p:cNvSpPr txBox="1"/>
            <p:nvPr/>
          </p:nvSpPr>
          <p:spPr>
            <a:xfrm>
              <a:off x="6660232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Nov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6" name="CuadroTexto 45"/>
            <p:cNvSpPr txBox="1"/>
            <p:nvPr/>
          </p:nvSpPr>
          <p:spPr>
            <a:xfrm>
              <a:off x="7236296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Dic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7" name="CuadroTexto 46"/>
            <p:cNvSpPr txBox="1"/>
            <p:nvPr/>
          </p:nvSpPr>
          <p:spPr>
            <a:xfrm>
              <a:off x="7812360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Ene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sp>
          <p:nvSpPr>
            <p:cNvPr id="48" name="CuadroTexto 47"/>
            <p:cNvSpPr txBox="1"/>
            <p:nvPr/>
          </p:nvSpPr>
          <p:spPr>
            <a:xfrm>
              <a:off x="8316416" y="5713511"/>
              <a:ext cx="864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b="1" dirty="0" smtClean="0">
                  <a:solidFill>
                    <a:schemeClr val="accent2">
                      <a:lumMod val="50000"/>
                    </a:schemeClr>
                  </a:solidFill>
                </a:rPr>
                <a:t>Feb</a:t>
              </a:r>
              <a:r>
                <a:rPr lang="es-ES" dirty="0" smtClean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endParaRPr lang="es-ES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</p:grpSp>
      <p:sp>
        <p:nvSpPr>
          <p:cNvPr id="3" name="CuadroTexto 2"/>
          <p:cNvSpPr txBox="1"/>
          <p:nvPr/>
        </p:nvSpPr>
        <p:spPr>
          <a:xfrm>
            <a:off x="5148064" y="476672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 smtClean="0">
                <a:solidFill>
                  <a:srgbClr val="953735"/>
                </a:solidFill>
              </a:rPr>
              <a:t>Cronograma</a:t>
            </a:r>
            <a:endParaRPr lang="es-ES" sz="2800" b="1" dirty="0">
              <a:solidFill>
                <a:srgbClr val="953735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6607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/>
          <p:cNvSpPr txBox="1"/>
          <p:nvPr/>
        </p:nvSpPr>
        <p:spPr>
          <a:xfrm>
            <a:off x="5004048" y="476672"/>
            <a:ext cx="3744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400" b="1" dirty="0" smtClean="0">
                <a:solidFill>
                  <a:schemeClr val="accent2">
                    <a:lumMod val="75000"/>
                  </a:schemeClr>
                </a:solidFill>
              </a:rPr>
              <a:t>Inquietudes</a:t>
            </a:r>
            <a:r>
              <a:rPr lang="es-ES" sz="2000" b="1" dirty="0" smtClean="0">
                <a:solidFill>
                  <a:schemeClr val="accent2">
                    <a:lumMod val="75000"/>
                  </a:schemeClr>
                </a:solidFill>
              </a:rPr>
              <a:t>   </a:t>
            </a:r>
            <a:endParaRPr lang="es-ES" sz="2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467544" y="1556792"/>
            <a:ext cx="8496944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CO" sz="1800" dirty="0" smtClean="0"/>
              <a:t>1. ¿Qué aspectos deben tenerse </a:t>
            </a:r>
            <a:r>
              <a:rPr lang="es-CO" sz="1800" dirty="0" smtClean="0"/>
              <a:t>para </a:t>
            </a:r>
            <a:r>
              <a:rPr lang="es-CO" sz="1800" dirty="0"/>
              <a:t>la gestión de comisiones </a:t>
            </a:r>
            <a:r>
              <a:rPr lang="es-CO" sz="1800" dirty="0" smtClean="0"/>
              <a:t>de los docentes y para </a:t>
            </a:r>
            <a:r>
              <a:rPr lang="es-CO" sz="1800" dirty="0" smtClean="0"/>
              <a:t>planeación </a:t>
            </a:r>
            <a:r>
              <a:rPr lang="es-CO" sz="1800" dirty="0" smtClean="0"/>
              <a:t>de la logística por parte de las SE que garantice </a:t>
            </a:r>
            <a:r>
              <a:rPr lang="es-CO" sz="1800" dirty="0"/>
              <a:t>la asistencia durante 1 semana a la formación presencial por parte de los </a:t>
            </a:r>
            <a:r>
              <a:rPr lang="es-CO" sz="1800" dirty="0" smtClean="0"/>
              <a:t>docentes?</a:t>
            </a:r>
            <a:endParaRPr lang="es-ES_tradnl" sz="1800" dirty="0"/>
          </a:p>
          <a:p>
            <a:pPr lvl="0" algn="just"/>
            <a:endParaRPr lang="es-CO" sz="1800" dirty="0" smtClean="0"/>
          </a:p>
          <a:p>
            <a:pPr lvl="0" algn="just"/>
            <a:r>
              <a:rPr lang="es-CO" sz="1800" dirty="0" smtClean="0"/>
              <a:t>2. ¿</a:t>
            </a:r>
            <a:r>
              <a:rPr lang="es-CO" sz="1800" dirty="0"/>
              <a:t>Qué aspectos deben tenerse en cuenta </a:t>
            </a:r>
            <a:r>
              <a:rPr lang="es-CO" sz="1800" dirty="0" smtClean="0"/>
              <a:t>para </a:t>
            </a:r>
            <a:r>
              <a:rPr lang="es-CO" sz="1800" dirty="0"/>
              <a:t>la gestión de reemplazos de los docentes que asistirán a la </a:t>
            </a:r>
            <a:r>
              <a:rPr lang="es-CO" sz="1800" dirty="0" smtClean="0"/>
              <a:t>formación durante la semana presencial</a:t>
            </a:r>
            <a:r>
              <a:rPr lang="es-CO" sz="1800" dirty="0" smtClean="0"/>
              <a:t>? </a:t>
            </a:r>
            <a:endParaRPr lang="es-CO" sz="1800" dirty="0" smtClean="0"/>
          </a:p>
          <a:p>
            <a:pPr lvl="0" algn="just"/>
            <a:endParaRPr lang="es-CO" sz="1800" dirty="0" smtClean="0"/>
          </a:p>
          <a:p>
            <a:pPr lvl="0" algn="just"/>
            <a:r>
              <a:rPr lang="es-CO" sz="1800" dirty="0" smtClean="0"/>
              <a:t>3.</a:t>
            </a:r>
            <a:r>
              <a:rPr lang="es-CO" sz="1800" dirty="0" smtClean="0"/>
              <a:t>¿</a:t>
            </a:r>
            <a:r>
              <a:rPr lang="es-CO" sz="1800" dirty="0" smtClean="0"/>
              <a:t>Qué elementos es necesario considerar para garantizar que la formación de docentes en uso educativo de TIC,  contribuyan a la construcción de prácticas pedagógicas innovadoras y significativas</a:t>
            </a:r>
            <a:r>
              <a:rPr lang="es-CO" sz="1800" dirty="0" smtClean="0"/>
              <a:t> ? </a:t>
            </a:r>
          </a:p>
          <a:p>
            <a:pPr lvl="0" algn="just"/>
            <a:endParaRPr lang="es-CO" sz="1800" dirty="0" smtClean="0"/>
          </a:p>
          <a:p>
            <a:pPr marL="342900" lvl="0" indent="-342900" algn="ctr"/>
            <a:r>
              <a:rPr lang="es-CO" sz="1800" dirty="0" smtClean="0"/>
              <a:t>Gina Calderón</a:t>
            </a:r>
          </a:p>
          <a:p>
            <a:pPr marL="342900" lvl="0" indent="-342900" algn="ctr"/>
            <a:r>
              <a:rPr lang="es-CO" sz="1800" dirty="0" smtClean="0"/>
              <a:t>Coordinadora Fomento al Uso de las </a:t>
            </a:r>
            <a:r>
              <a:rPr lang="es-CO" sz="1800" dirty="0" smtClean="0"/>
              <a:t>TIC</a:t>
            </a:r>
          </a:p>
          <a:p>
            <a:pPr marL="342900" lvl="0" indent="-342900" algn="ctr"/>
            <a:r>
              <a:rPr lang="es-CO" sz="1800" dirty="0" smtClean="0">
                <a:hlinkClick r:id="rId2"/>
              </a:rPr>
              <a:t>gcalderon@mineducacion.gov.co</a:t>
            </a:r>
            <a:r>
              <a:rPr lang="es-CO" sz="1800" dirty="0" smtClean="0"/>
              <a:t> </a:t>
            </a:r>
            <a:endParaRPr lang="es-CO" sz="1800" dirty="0" smtClean="0"/>
          </a:p>
          <a:p>
            <a:pPr marL="342900" lvl="0" indent="-342900" algn="just">
              <a:buFont typeface="Wingdings" charset="2"/>
              <a:buChar char="Ø"/>
            </a:pPr>
            <a:endParaRPr lang="es-CO" sz="1800" dirty="0" smtClean="0"/>
          </a:p>
          <a:p>
            <a:pPr marL="342900" lvl="0" indent="-342900" algn="just"/>
            <a:endParaRPr lang="es-CO" sz="1800" dirty="0" smtClean="0"/>
          </a:p>
          <a:p>
            <a:pPr lvl="0" algn="just"/>
            <a:endParaRPr lang="es-ES" sz="1800" dirty="0"/>
          </a:p>
          <a:p>
            <a:pPr lvl="0" algn="just"/>
            <a:endParaRPr lang="es-ES" sz="1800" dirty="0" smtClean="0"/>
          </a:p>
          <a:p>
            <a:pPr lvl="0" algn="just"/>
            <a:endParaRPr lang="es-ES" sz="1800" dirty="0"/>
          </a:p>
        </p:txBody>
      </p:sp>
    </p:spTree>
    <p:extLst>
      <p:ext uri="{BB962C8B-B14F-4D97-AF65-F5344CB8AC3E}">
        <p14:creationId xmlns="" xmlns:p14="http://schemas.microsoft.com/office/powerpoint/2010/main" val="404247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16016" y="188640"/>
            <a:ext cx="3528392" cy="1143000"/>
          </a:xfrm>
        </p:spPr>
        <p:txBody>
          <a:bodyPr/>
          <a:lstStyle/>
          <a:p>
            <a:r>
              <a:rPr lang="es-CO" dirty="0" smtClean="0"/>
              <a:t>TIC-TAC</a:t>
            </a:r>
            <a:endParaRPr lang="en-U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01216" y="1628800"/>
            <a:ext cx="8229600" cy="4536504"/>
          </a:xfrm>
        </p:spPr>
        <p:txBody>
          <a:bodyPr/>
          <a:lstStyle/>
          <a:p>
            <a:pPr marL="0" indent="0" algn="just">
              <a:buNone/>
            </a:pPr>
            <a:endParaRPr lang="es-CO" sz="2000" b="1" i="1" dirty="0" smtClean="0"/>
          </a:p>
          <a:p>
            <a:pPr marL="0" indent="0" algn="just">
              <a:buNone/>
            </a:pPr>
            <a:endParaRPr lang="es-CO" sz="2000" b="1" i="1" dirty="0"/>
          </a:p>
          <a:p>
            <a:pPr marL="0" indent="0" algn="just">
              <a:buNone/>
            </a:pPr>
            <a:r>
              <a:rPr lang="es-CO" sz="2000" b="1" i="1" dirty="0" smtClean="0"/>
              <a:t>“</a:t>
            </a:r>
            <a:r>
              <a:rPr lang="es-CO" sz="2000" i="1" dirty="0" smtClean="0"/>
              <a:t>Por sofisticadas que nos parezcan y por mucha capacidad que tengan las TIC para capturar, almacenar, gestionar, presentar y transmitir información, parece difícil considerarlas como </a:t>
            </a:r>
            <a:r>
              <a:rPr lang="es-CO" sz="2000" i="1" dirty="0" smtClean="0">
                <a:hlinkClick r:id="rId2"/>
              </a:rPr>
              <a:t>tecnologías del aprendizaje y el conocimiento </a:t>
            </a:r>
            <a:r>
              <a:rPr lang="es-CO" sz="2000" i="1" dirty="0" smtClean="0"/>
              <a:t>si no se enmarcan en un contexto educativo con unas finalidades y un sistema de seguimiento que nos permita pronunciarnos sobre el valor educativo de las experiencias de aprendizaje”</a:t>
            </a:r>
          </a:p>
          <a:p>
            <a:pPr marL="0" indent="0" algn="just">
              <a:buNone/>
            </a:pPr>
            <a:endParaRPr lang="es-CO" sz="2000" b="1" i="1" dirty="0"/>
          </a:p>
          <a:p>
            <a:pPr marL="0" indent="0" algn="r">
              <a:buNone/>
            </a:pPr>
            <a:r>
              <a:rPr lang="es-CO" sz="1800" b="1" i="1" dirty="0" smtClean="0"/>
              <a:t>Juana María Sancho, 2002</a:t>
            </a:r>
          </a:p>
        </p:txBody>
      </p:sp>
    </p:spTree>
    <p:extLst>
      <p:ext uri="{BB962C8B-B14F-4D97-AF65-F5344CB8AC3E}">
        <p14:creationId xmlns:p14="http://schemas.microsoft.com/office/powerpoint/2010/main" xmlns="" val="380382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1 CuadroTexto"/>
          <p:cNvSpPr txBox="1">
            <a:spLocks noChangeArrowheads="1"/>
          </p:cNvSpPr>
          <p:nvPr/>
        </p:nvSpPr>
        <p:spPr bwMode="auto">
          <a:xfrm>
            <a:off x="250825" y="2205038"/>
            <a:ext cx="4716463" cy="409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Disposición de ambientes educativos que faciliten el aprendizaje</a:t>
            </a:r>
          </a:p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Desarrollo de las competencias del ciudadano del siglo XXI</a:t>
            </a:r>
          </a:p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Transformación de las prácticas pedagógicas</a:t>
            </a:r>
          </a:p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Mejoras en la gestión educativa a nivel institucional y regional</a:t>
            </a:r>
          </a:p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Disminución de la brecha digital</a:t>
            </a:r>
          </a:p>
          <a:p>
            <a:pPr marL="271463" indent="-271463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2200" b="0" dirty="0"/>
              <a:t>Formación a lo largo de la vid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800" dirty="0"/>
          </a:p>
        </p:txBody>
      </p:sp>
      <p:pic>
        <p:nvPicPr>
          <p:cNvPr id="3" name="Picture 5" descr="entreg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1168863">
            <a:off x="5364539" y="2693219"/>
            <a:ext cx="3361288" cy="2520966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0964" name="1 CuadroTexto"/>
          <p:cNvSpPr txBox="1">
            <a:spLocks noChangeArrowheads="1"/>
          </p:cNvSpPr>
          <p:nvPr/>
        </p:nvSpPr>
        <p:spPr bwMode="auto">
          <a:xfrm>
            <a:off x="36513" y="1492250"/>
            <a:ext cx="914400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44550" eaLnBrk="1" hangingPunct="1">
              <a:lnSpc>
                <a:spcPct val="90000"/>
              </a:lnSpc>
              <a:spcAft>
                <a:spcPct val="35000"/>
              </a:spcAft>
            </a:pPr>
            <a:r>
              <a:rPr lang="es-ES" sz="2400" b="1" dirty="0">
                <a:solidFill>
                  <a:srgbClr val="800000"/>
                </a:solidFill>
              </a:rPr>
              <a:t>¿Qué se espera de la innovación educativa con uso de TIC?</a:t>
            </a:r>
            <a:endParaRPr lang="es-ES" sz="1600" b="1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9631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The Emergent 21st Century Teach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08400" y="1484313"/>
            <a:ext cx="4824413" cy="438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611188" y="2199184"/>
            <a:ext cx="2016125" cy="714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eaLnBrk="0" hangingPunct="0">
              <a:defRPr/>
            </a:pPr>
            <a:endParaRPr lang="es-CO" dirty="0">
              <a:latin typeface="Calibri" pitchFamily="34" charset="0"/>
              <a:cs typeface="+mn-cs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611188" y="1773238"/>
            <a:ext cx="252095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es-CO" i="1" dirty="0" smtClean="0">
                <a:latin typeface="+mn-lt"/>
                <a:cs typeface="+mn-cs"/>
              </a:rPr>
              <a:t>Docentes 2.0 </a:t>
            </a:r>
            <a:endParaRPr lang="es-CO" i="1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447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2" name="think-cell Slide" r:id="rId33" imgW="360" imgH="360" progId="">
              <p:embed/>
            </p:oleObj>
          </a:graphicData>
        </a:graphic>
      </p:graphicFrame>
      <p:sp>
        <p:nvSpPr>
          <p:cNvPr id="16" name="15 Rectángulo redondeado"/>
          <p:cNvSpPr/>
          <p:nvPr>
            <p:custDataLst>
              <p:tags r:id="rId2"/>
            </p:custDataLst>
          </p:nvPr>
        </p:nvSpPr>
        <p:spPr bwMode="auto">
          <a:xfrm>
            <a:off x="323528" y="1340768"/>
            <a:ext cx="8568952" cy="5158333"/>
          </a:xfrm>
          <a:prstGeom prst="roundRect">
            <a:avLst>
              <a:gd name="adj" fmla="val 2088"/>
            </a:avLst>
          </a:prstGeom>
          <a:solidFill>
            <a:schemeClr val="bg2">
              <a:lumMod val="20000"/>
              <a:lumOff val="80000"/>
            </a:schemeClr>
          </a:solidFill>
          <a:ln w="381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schemeClr val="tx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/>
          <a:p>
            <a:pPr eaLnBrk="0" hangingPunct="0">
              <a:defRPr/>
            </a:pPr>
            <a:endParaRPr lang="es-VE" dirty="0">
              <a:latin typeface="Arial" charset="0"/>
              <a:ea typeface="ＭＳ Ｐゴシック" pitchFamily="1" charset="-128"/>
            </a:endParaRPr>
          </a:p>
        </p:txBody>
      </p:sp>
      <p:sp>
        <p:nvSpPr>
          <p:cNvPr id="717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29956" y="332656"/>
            <a:ext cx="441404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es-ES_tradnl" sz="2000" dirty="0">
                <a:solidFill>
                  <a:srgbClr val="800000"/>
                </a:solidFill>
              </a:rPr>
              <a:t>Sistema Nacional de Innovación Educativa con uso de TIC</a:t>
            </a:r>
          </a:p>
        </p:txBody>
      </p:sp>
      <p:sp>
        <p:nvSpPr>
          <p:cNvPr id="5" name="Text Box 3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8313" y="1387079"/>
            <a:ext cx="17272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84225">
              <a:spcBef>
                <a:spcPct val="20000"/>
              </a:spcBef>
              <a:defRPr/>
            </a:pPr>
            <a:r>
              <a:rPr lang="es-CO" sz="1600" noProof="1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Estrategias</a:t>
            </a:r>
          </a:p>
        </p:txBody>
      </p:sp>
      <p:grpSp>
        <p:nvGrpSpPr>
          <p:cNvPr id="2" name="52 Grupo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68313" y="1674416"/>
            <a:ext cx="1582737" cy="4752975"/>
            <a:chOff x="467544" y="1916832"/>
            <a:chExt cx="1584176" cy="4752528"/>
          </a:xfrm>
        </p:grpSpPr>
        <p:sp>
          <p:nvSpPr>
            <p:cNvPr id="6" name="5 Rectángulo redondeado"/>
            <p:cNvSpPr/>
            <p:nvPr>
              <p:custDataLst>
                <p:tags r:id="rId27"/>
              </p:custDataLst>
            </p:nvPr>
          </p:nvSpPr>
          <p:spPr bwMode="auto">
            <a:xfrm>
              <a:off x="467544" y="1916832"/>
              <a:ext cx="1584176" cy="4752528"/>
            </a:xfrm>
            <a:prstGeom prst="roundRect">
              <a:avLst>
                <a:gd name="adj" fmla="val 8249"/>
              </a:avLst>
            </a:prstGeom>
            <a:solidFill>
              <a:srgbClr val="0091C4"/>
            </a:solidFill>
            <a:ln w="381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txBody>
            <a:bodyPr/>
            <a:lstStyle/>
            <a:p>
              <a:pPr eaLnBrk="0" hangingPunct="0">
                <a:defRPr/>
              </a:pPr>
              <a:endParaRPr lang="es-VE" dirty="0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8" name="17 CuadroTexto"/>
            <p:cNvSpPr txBox="1"/>
            <p:nvPr>
              <p:custDataLst>
                <p:tags r:id="rId28"/>
              </p:custDataLst>
            </p:nvPr>
          </p:nvSpPr>
          <p:spPr>
            <a:xfrm>
              <a:off x="467544" y="3621647"/>
              <a:ext cx="1584176" cy="6920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s-ES" sz="1300" cap="all" dirty="0">
                  <a:solidFill>
                    <a:schemeClr val="bg1"/>
                  </a:solidFill>
                  <a:ea typeface="ＭＳ Ｐゴシック" pitchFamily="34" charset="-128"/>
                  <a:cs typeface="Arial" pitchFamily="34" charset="0"/>
                </a:rPr>
                <a:t>DESARROLLO PROFESIONAL DOCENTE</a:t>
              </a:r>
            </a:p>
          </p:txBody>
        </p:sp>
        <p:sp>
          <p:nvSpPr>
            <p:cNvPr id="23" name="22 Elipse"/>
            <p:cNvSpPr/>
            <p:nvPr>
              <p:custDataLst>
                <p:tags r:id="rId29"/>
              </p:custDataLst>
            </p:nvPr>
          </p:nvSpPr>
          <p:spPr>
            <a:xfrm>
              <a:off x="491378" y="2037471"/>
              <a:ext cx="1485663" cy="1501634"/>
            </a:xfrm>
            <a:prstGeom prst="ellipse">
              <a:avLst/>
            </a:prstGeom>
            <a:blipFill rotWithShape="0">
              <a:blip r:embed="rId34" cstate="print"/>
              <a:stretch>
                <a:fillRect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es-VE" dirty="0"/>
            </a:p>
          </p:txBody>
        </p:sp>
        <p:sp>
          <p:nvSpPr>
            <p:cNvPr id="7219" name="27 CuadroTexto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524694" y="4312543"/>
              <a:ext cx="1512168" cy="1236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95250" indent="-952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ES" sz="1200" b="0" dirty="0">
                  <a:solidFill>
                    <a:schemeClr val="bg1"/>
                  </a:solidFill>
                  <a:cs typeface="Arial" pitchFamily="34" charset="0"/>
                </a:rPr>
                <a:t>Formación de docentes y directivos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ES" sz="1200" b="0" dirty="0">
                  <a:solidFill>
                    <a:schemeClr val="bg1"/>
                  </a:solidFill>
                  <a:cs typeface="Arial" pitchFamily="34" charset="0"/>
                </a:rPr>
                <a:t>Certificación 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ES" sz="1200" b="0" dirty="0">
                  <a:solidFill>
                    <a:schemeClr val="bg1"/>
                  </a:solidFill>
                  <a:cs typeface="Arial" pitchFamily="34" charset="0"/>
                </a:rPr>
                <a:t>Redes y comunidades </a:t>
              </a:r>
            </a:p>
          </p:txBody>
        </p:sp>
      </p:grpSp>
      <p:grpSp>
        <p:nvGrpSpPr>
          <p:cNvPr id="3" name="54 Grupo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816350" y="1674416"/>
            <a:ext cx="1608138" cy="4752975"/>
            <a:chOff x="3815730" y="1916832"/>
            <a:chExt cx="1608559" cy="4752528"/>
          </a:xfrm>
        </p:grpSpPr>
        <p:sp>
          <p:nvSpPr>
            <p:cNvPr id="8" name="7 Rectángulo redondeado"/>
            <p:cNvSpPr/>
            <p:nvPr>
              <p:custDataLst>
                <p:tags r:id="rId23"/>
              </p:custDataLst>
            </p:nvPr>
          </p:nvSpPr>
          <p:spPr bwMode="auto">
            <a:xfrm>
              <a:off x="3815916" y="1916832"/>
              <a:ext cx="1584176" cy="4752528"/>
            </a:xfrm>
            <a:prstGeom prst="roundRect">
              <a:avLst>
                <a:gd name="adj" fmla="val 8249"/>
              </a:avLst>
            </a:prstGeom>
            <a:solidFill>
              <a:srgbClr val="007976"/>
            </a:solidFill>
            <a:ln w="381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txBody>
            <a:bodyPr/>
            <a:lstStyle/>
            <a:p>
              <a:pPr eaLnBrk="0" hangingPunct="0">
                <a:defRPr/>
              </a:pPr>
              <a:endParaRPr lang="es-VE" dirty="0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20" name="19 CuadroTexto"/>
            <p:cNvSpPr txBox="1"/>
            <p:nvPr>
              <p:custDataLst>
                <p:tags r:id="rId24"/>
              </p:custDataLst>
            </p:nvPr>
          </p:nvSpPr>
          <p:spPr>
            <a:xfrm>
              <a:off x="3815730" y="3621647"/>
              <a:ext cx="1584740" cy="4920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s-ES" sz="1300" cap="all" dirty="0">
                  <a:solidFill>
                    <a:schemeClr val="bg1"/>
                  </a:solidFill>
                  <a:ea typeface="ＭＳ Ｐゴシック" pitchFamily="34" charset="-128"/>
                  <a:cs typeface="Arial" pitchFamily="34" charset="0"/>
                </a:rPr>
                <a:t>Educación virtuaL</a:t>
              </a:r>
            </a:p>
          </p:txBody>
        </p:sp>
        <p:sp>
          <p:nvSpPr>
            <p:cNvPr id="25" name="24 Elipse"/>
            <p:cNvSpPr/>
            <p:nvPr>
              <p:custDataLst>
                <p:tags r:id="rId25"/>
              </p:custDataLst>
            </p:nvPr>
          </p:nvSpPr>
          <p:spPr>
            <a:xfrm>
              <a:off x="3840731" y="2036862"/>
              <a:ext cx="1486382" cy="1501536"/>
            </a:xfrm>
            <a:prstGeom prst="ellipse">
              <a:avLst/>
            </a:prstGeom>
            <a:blipFill>
              <a:blip r:embed="rId35" cstate="print">
                <a:extLst/>
              </a:blip>
              <a:srcRect/>
              <a:stretch>
                <a:fillRect l="-55000" r="-55000"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es-VE" dirty="0"/>
            </a:p>
          </p:txBody>
        </p:sp>
        <p:sp>
          <p:nvSpPr>
            <p:cNvPr id="7213" name="29 CuadroTexto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840113" y="4312543"/>
              <a:ext cx="1584176" cy="1107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04775" indent="-104775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Acompañamiento </a:t>
              </a:r>
              <a:b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</a:b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a la creación y/o transformación de  nuevos programas virtuales para Educación Superior</a:t>
              </a:r>
            </a:p>
          </p:txBody>
        </p:sp>
      </p:grpSp>
      <p:grpSp>
        <p:nvGrpSpPr>
          <p:cNvPr id="4" name="56 Grupo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7164388" y="1674416"/>
            <a:ext cx="1587500" cy="4752975"/>
            <a:chOff x="7164288" y="1916832"/>
            <a:chExt cx="1586880" cy="4752528"/>
          </a:xfrm>
        </p:grpSpPr>
        <p:sp>
          <p:nvSpPr>
            <p:cNvPr id="10" name="9 Rectángulo redondeado"/>
            <p:cNvSpPr/>
            <p:nvPr>
              <p:custDataLst>
                <p:tags r:id="rId19"/>
              </p:custDataLst>
            </p:nvPr>
          </p:nvSpPr>
          <p:spPr bwMode="auto">
            <a:xfrm>
              <a:off x="7164288" y="1916832"/>
              <a:ext cx="1584176" cy="4752528"/>
            </a:xfrm>
            <a:prstGeom prst="roundRect">
              <a:avLst>
                <a:gd name="adj" fmla="val 8249"/>
              </a:avLst>
            </a:prstGeom>
            <a:solidFill>
              <a:srgbClr val="990033"/>
            </a:solidFill>
            <a:ln w="381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txBody>
            <a:bodyPr/>
            <a:lstStyle/>
            <a:p>
              <a:pPr eaLnBrk="0" hangingPunct="0">
                <a:defRPr/>
              </a:pPr>
              <a:endParaRPr lang="es-VE" dirty="0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22" name="21 CuadroTexto"/>
            <p:cNvSpPr txBox="1"/>
            <p:nvPr>
              <p:custDataLst>
                <p:tags r:id="rId20"/>
              </p:custDataLst>
            </p:nvPr>
          </p:nvSpPr>
          <p:spPr>
            <a:xfrm>
              <a:off x="7167462" y="3621647"/>
              <a:ext cx="1583706" cy="4920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s-ES" sz="1300" cap="all" dirty="0">
                  <a:solidFill>
                    <a:schemeClr val="bg1"/>
                  </a:solidFill>
                  <a:ea typeface="ＭＳ Ｐゴシック" pitchFamily="34" charset="-128"/>
                  <a:cs typeface="Arial" pitchFamily="34" charset="0"/>
                </a:rPr>
                <a:t>Acceso a la Tecnología</a:t>
              </a:r>
            </a:p>
          </p:txBody>
        </p:sp>
        <p:sp>
          <p:nvSpPr>
            <p:cNvPr id="27" name="26 Elipse"/>
            <p:cNvSpPr/>
            <p:nvPr>
              <p:custDataLst>
                <p:tags r:id="rId21"/>
              </p:custDataLst>
            </p:nvPr>
          </p:nvSpPr>
          <p:spPr>
            <a:xfrm>
              <a:off x="7190074" y="2093079"/>
              <a:ext cx="1486382" cy="1501536"/>
            </a:xfrm>
            <a:prstGeom prst="ellipse">
              <a:avLst/>
            </a:prstGeom>
            <a:blipFill dpi="0" rotWithShape="0">
              <a:blip r:embed="rId36" cstate="print"/>
              <a:srcRect/>
              <a:stretch>
                <a:fillRect l="-18000" t="-1000" r="-8000"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6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defRPr/>
              </a:pPr>
              <a:endParaRPr lang="es-VE" dirty="0"/>
            </a:p>
          </p:txBody>
        </p:sp>
        <p:sp>
          <p:nvSpPr>
            <p:cNvPr id="7205" name="31 CuadroTexto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232501" y="4312543"/>
              <a:ext cx="1443955" cy="1549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95250" indent="-952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Equipos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Conectividad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Soporte y mantenimiento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Sostenibilidad  </a:t>
              </a:r>
            </a:p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Reposición de equipos </a:t>
              </a:r>
            </a:p>
          </p:txBody>
        </p:sp>
      </p:grpSp>
      <p:grpSp>
        <p:nvGrpSpPr>
          <p:cNvPr id="11" name="55 Grupo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476875" y="1674416"/>
            <a:ext cx="1597025" cy="4752975"/>
            <a:chOff x="5476850" y="1916832"/>
            <a:chExt cx="1597428" cy="4752528"/>
          </a:xfrm>
        </p:grpSpPr>
        <p:sp>
          <p:nvSpPr>
            <p:cNvPr id="9" name="8 Rectángulo redondeado"/>
            <p:cNvSpPr/>
            <p:nvPr>
              <p:custDataLst>
                <p:tags r:id="rId15"/>
              </p:custDataLst>
            </p:nvPr>
          </p:nvSpPr>
          <p:spPr bwMode="auto">
            <a:xfrm>
              <a:off x="5490102" y="1916832"/>
              <a:ext cx="1584176" cy="4752528"/>
            </a:xfrm>
            <a:prstGeom prst="roundRect">
              <a:avLst>
                <a:gd name="adj" fmla="val 8249"/>
              </a:avLst>
            </a:prstGeom>
            <a:solidFill>
              <a:srgbClr val="009900"/>
            </a:solidFill>
            <a:ln w="381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txBody>
            <a:bodyPr/>
            <a:lstStyle/>
            <a:p>
              <a:pPr eaLnBrk="0" hangingPunct="0">
                <a:defRPr/>
              </a:pPr>
              <a:endParaRPr lang="es-VE" dirty="0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21" name="20 CuadroTexto"/>
            <p:cNvSpPr txBox="1"/>
            <p:nvPr>
              <p:custDataLst>
                <p:tags r:id="rId16"/>
              </p:custDataLst>
            </p:nvPr>
          </p:nvSpPr>
          <p:spPr>
            <a:xfrm>
              <a:off x="5476850" y="3621647"/>
              <a:ext cx="1584725" cy="4920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s-ES" sz="1300" cap="all" dirty="0">
                  <a:solidFill>
                    <a:schemeClr val="bg1"/>
                  </a:solidFill>
                  <a:ea typeface="ＭＳ Ｐゴシック" pitchFamily="34" charset="-128"/>
                  <a:cs typeface="Arial" pitchFamily="34" charset="0"/>
                </a:rPr>
                <a:t>Fomento a la </a:t>
              </a:r>
            </a:p>
            <a:p>
              <a:pPr algn="ctr">
                <a:defRPr/>
              </a:pPr>
              <a:r>
                <a:rPr lang="es-ES" sz="1300" cap="all" dirty="0">
                  <a:solidFill>
                    <a:schemeClr val="bg1"/>
                  </a:solidFill>
                  <a:ea typeface="ＭＳ Ｐゴシック" pitchFamily="34" charset="-128"/>
                  <a:cs typeface="Arial" pitchFamily="34" charset="0"/>
                </a:rPr>
                <a:t>investigación</a:t>
              </a:r>
            </a:p>
          </p:txBody>
        </p:sp>
        <p:sp>
          <p:nvSpPr>
            <p:cNvPr id="7194" name="30 CuadroTexto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529411" y="4312543"/>
              <a:ext cx="1461939" cy="1477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04775" indent="-104775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Aft>
                  <a:spcPts val="500"/>
                </a:spcAft>
                <a:buClr>
                  <a:schemeClr val="bg1"/>
                </a:buClr>
                <a:buSzPct val="125000"/>
                <a:buFont typeface="Arial" pitchFamily="34" charset="0"/>
                <a:buChar char="▪"/>
              </a:pPr>
              <a:r>
                <a:rPr lang="es-CO" sz="1200" b="0" dirty="0">
                  <a:solidFill>
                    <a:schemeClr val="bg1"/>
                  </a:solidFill>
                  <a:cs typeface="Arial" pitchFamily="34" charset="0"/>
                </a:rPr>
                <a:t>Fortalecimiento a: Grupos y proyectos  de investigación en TIC y Educación, haciendo énfasis en innovación educativa con uso de TIC</a:t>
              </a:r>
            </a:p>
          </p:txBody>
        </p:sp>
        <p:sp>
          <p:nvSpPr>
            <p:cNvPr id="49" name="48 Elipse"/>
            <p:cNvSpPr/>
            <p:nvPr>
              <p:custDataLst>
                <p:tags r:id="rId18"/>
              </p:custDataLst>
            </p:nvPr>
          </p:nvSpPr>
          <p:spPr bwMode="auto">
            <a:xfrm>
              <a:off x="5516612" y="2036862"/>
              <a:ext cx="1509121" cy="1509121"/>
            </a:xfrm>
            <a:prstGeom prst="ellipse">
              <a:avLst/>
            </a:prstGeom>
            <a:blipFill dpi="0" rotWithShape="1">
              <a:blip r:embed="rId37" cstate="print"/>
              <a:srcRect/>
              <a:stretch>
                <a:fillRect l="-2000" r="-2000" b="-3000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eaLnBrk="0" hangingPunct="0">
                <a:defRPr/>
              </a:pPr>
              <a:endParaRPr lang="es-VE" dirty="0"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12" name="64 Grupo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128838" y="1674416"/>
            <a:ext cx="1631950" cy="4752975"/>
            <a:chOff x="2128664" y="1844824"/>
            <a:chExt cx="1632198" cy="4752528"/>
          </a:xfrm>
        </p:grpSpPr>
        <p:grpSp>
          <p:nvGrpSpPr>
            <p:cNvPr id="13" name="53 Grupo"/>
            <p:cNvGrpSpPr>
              <a:grpSpLocks/>
            </p:cNvGrpSpPr>
            <p:nvPr/>
          </p:nvGrpSpPr>
          <p:grpSpPr bwMode="auto">
            <a:xfrm>
              <a:off x="2128664" y="1844824"/>
              <a:ext cx="1632198" cy="4752528"/>
              <a:chOff x="2128664" y="1916832"/>
              <a:chExt cx="1632198" cy="4752528"/>
            </a:xfrm>
          </p:grpSpPr>
          <p:sp>
            <p:nvSpPr>
              <p:cNvPr id="7" name="6 Rectángulo redondeado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2141730" y="1916832"/>
                <a:ext cx="1584176" cy="4752528"/>
              </a:xfrm>
              <a:prstGeom prst="roundRect">
                <a:avLst>
                  <a:gd name="adj" fmla="val 8249"/>
                </a:avLst>
              </a:prstGeom>
              <a:solidFill>
                <a:srgbClr val="003399"/>
              </a:solidFill>
              <a:ln w="38100" cap="sq">
                <a:solidFill>
                  <a:srgbClr val="FFFFFF"/>
                </a:solidFill>
                <a:miter lim="800000"/>
              </a:ln>
              <a:effectLst>
                <a:outerShdw blurRad="50800" dist="38100" dir="2700000" algn="tl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  <p:txBody>
              <a:bodyPr/>
              <a:lstStyle/>
              <a:p>
                <a:pPr eaLnBrk="0" hangingPunct="0">
                  <a:defRPr/>
                </a:pPr>
                <a:endParaRPr lang="es-VE" dirty="0">
                  <a:latin typeface="Arial" charset="0"/>
                  <a:ea typeface="ＭＳ Ｐゴシック" pitchFamily="1" charset="-128"/>
                </a:endParaRPr>
              </a:p>
            </p:txBody>
          </p:sp>
          <p:sp>
            <p:nvSpPr>
              <p:cNvPr id="19" name="18 CuadroTexto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2128664" y="3621647"/>
                <a:ext cx="1584566" cy="49207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s-ES" sz="1300" cap="all" dirty="0">
                    <a:solidFill>
                      <a:schemeClr val="bg1"/>
                    </a:solidFill>
                    <a:ea typeface="ＭＳ Ｐゴシック" pitchFamily="34" charset="-128"/>
                    <a:cs typeface="Arial" pitchFamily="34" charset="0"/>
                  </a:rPr>
                  <a:t>Gestión de contenidos</a:t>
                </a:r>
              </a:p>
            </p:txBody>
          </p:sp>
          <p:sp>
            <p:nvSpPr>
              <p:cNvPr id="7188" name="28 CuadroTexto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176686" y="4312543"/>
                <a:ext cx="1584176" cy="1974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104775" indent="-104775" eaLnBrk="0" hangingPunct="0"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Aft>
                    <a:spcPts val="500"/>
                  </a:spcAft>
                  <a:buClr>
                    <a:schemeClr val="bg1"/>
                  </a:buClr>
                  <a:buSzPct val="125000"/>
                  <a:buFont typeface="Arial" pitchFamily="34" charset="0"/>
                  <a:buChar char="▪"/>
                </a:pPr>
                <a:r>
                  <a:rPr lang="es-ES" sz="1200" b="0" dirty="0">
                    <a:solidFill>
                      <a:schemeClr val="bg1"/>
                    </a:solidFill>
                    <a:cs typeface="Arial" pitchFamily="34" charset="0"/>
                  </a:rPr>
                  <a:t>Portal Educativo Colombia Aprende</a:t>
                </a:r>
              </a:p>
              <a:p>
                <a:pPr eaLnBrk="1" hangingPunct="1">
                  <a:spcAft>
                    <a:spcPts val="500"/>
                  </a:spcAft>
                  <a:buClr>
                    <a:schemeClr val="bg1"/>
                  </a:buClr>
                  <a:buSzPct val="125000"/>
                  <a:buFont typeface="Arial" pitchFamily="34" charset="0"/>
                  <a:buChar char="▪"/>
                </a:pPr>
                <a:r>
                  <a:rPr lang="es-ES" sz="1200" b="0" dirty="0">
                    <a:solidFill>
                      <a:schemeClr val="bg1"/>
                    </a:solidFill>
                    <a:cs typeface="Arial" pitchFamily="34" charset="0"/>
                  </a:rPr>
                  <a:t>Oferta Nacional de Contenidos estandarizados, de alta calidad y de acceso público</a:t>
                </a:r>
              </a:p>
              <a:p>
                <a:pPr eaLnBrk="1" hangingPunct="1">
                  <a:spcAft>
                    <a:spcPts val="500"/>
                  </a:spcAft>
                  <a:buClr>
                    <a:schemeClr val="bg1"/>
                  </a:buClr>
                  <a:buSzPct val="125000"/>
                  <a:buFont typeface="Arial" pitchFamily="34" charset="0"/>
                  <a:buChar char="▪"/>
                </a:pPr>
                <a:r>
                  <a:rPr lang="es-ES" sz="1200" b="0" dirty="0">
                    <a:solidFill>
                      <a:schemeClr val="bg1"/>
                    </a:solidFill>
                    <a:cs typeface="Arial" pitchFamily="34" charset="0"/>
                  </a:rPr>
                  <a:t> Estrategias  para Internet, Televisión </a:t>
                </a:r>
                <a:br>
                  <a:rPr lang="es-ES" sz="1200" b="0" dirty="0">
                    <a:solidFill>
                      <a:schemeClr val="bg1"/>
                    </a:solidFill>
                    <a:cs typeface="Arial" pitchFamily="34" charset="0"/>
                  </a:rPr>
                </a:br>
                <a:r>
                  <a:rPr lang="es-ES" sz="1200" b="0" dirty="0">
                    <a:solidFill>
                      <a:schemeClr val="bg1"/>
                    </a:solidFill>
                    <a:cs typeface="Arial" pitchFamily="34" charset="0"/>
                  </a:rPr>
                  <a:t>y Radio Educativas</a:t>
                </a:r>
              </a:p>
            </p:txBody>
          </p:sp>
          <p:sp>
            <p:nvSpPr>
              <p:cNvPr id="36" name="35 Elipse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2157243" y="2037471"/>
                <a:ext cx="1508354" cy="1507983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eaLnBrk="0" hangingPunct="0">
                  <a:defRPr/>
                </a:pPr>
                <a:endParaRPr lang="es-VE" dirty="0">
                  <a:latin typeface="Arial" charset="0"/>
                  <a:ea typeface="ＭＳ Ｐゴシック" pitchFamily="1" charset="-128"/>
                </a:endParaRPr>
              </a:p>
            </p:txBody>
          </p:sp>
        </p:grpSp>
        <p:pic>
          <p:nvPicPr>
            <p:cNvPr id="7183" name="Picture 5" descr="http://2.gravatar.com/avatar/f736354b7488a146de1f1a3c16d2b564?size=420"/>
            <p:cNvPicPr>
              <a:picLocks noChangeAspect="1" noChangeArrowheads="1"/>
            </p:cNvPicPr>
            <p:nvPr/>
          </p:nvPicPr>
          <p:blipFill>
            <a:blip r:embed="rId3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8794" r="10539"/>
            <a:stretch>
              <a:fillRect/>
            </a:stretch>
          </p:blipFill>
          <p:spPr bwMode="auto">
            <a:xfrm>
              <a:off x="2449553" y="2089426"/>
              <a:ext cx="965350" cy="1196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2" name="1 Flecha izquierda y derecha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5557" y="6136197"/>
            <a:ext cx="7848798" cy="576064"/>
          </a:xfrm>
          <a:prstGeom prst="leftRightArrow">
            <a:avLst>
              <a:gd name="adj1" fmla="val 68576"/>
              <a:gd name="adj2" fmla="val 50075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tIns="0" bIns="0" anchor="ctr"/>
          <a:lstStyle/>
          <a:p>
            <a:pPr algn="ctr" eaLnBrk="0" hangingPunct="0">
              <a:defRPr/>
            </a:pPr>
            <a:r>
              <a:rPr lang="es-CO" sz="16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PROPICIAR INNOVACION PEDAGOGICA Y MEJORA EN los  </a:t>
            </a:r>
            <a:r>
              <a:rPr lang="es-CO" sz="1600" cap="all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APRENDIZAJEs</a:t>
            </a:r>
            <a:endParaRPr lang="es-CO" sz="16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54906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32" presetID="54" presetClass="entr" presetSubtype="0" ac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86" r="22250" b="86319"/>
          <a:stretch>
            <a:fillRect/>
          </a:stretch>
        </p:blipFill>
        <p:spPr bwMode="auto">
          <a:xfrm>
            <a:off x="4932040" y="9999"/>
            <a:ext cx="3888432" cy="1300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Marcador de contenido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4" y="1988839"/>
            <a:ext cx="8496944" cy="4752529"/>
          </a:xfrm>
        </p:spPr>
      </p:pic>
      <p:sp>
        <p:nvSpPr>
          <p:cNvPr id="4" name="CuadroTexto 3"/>
          <p:cNvSpPr txBox="1"/>
          <p:nvPr/>
        </p:nvSpPr>
        <p:spPr>
          <a:xfrm>
            <a:off x="1835696" y="1418668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Pentágono de Competencias T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5092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56793"/>
            <a:ext cx="8280920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4904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4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5" name="think-cell Slide" r:id="rId16" imgW="360" imgH="360" progId="">
              <p:embed/>
            </p:oleObj>
          </a:graphicData>
        </a:graphic>
      </p:graphicFrame>
      <p:sp>
        <p:nvSpPr>
          <p:cNvPr id="71" name="Freeform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63738" y="3252565"/>
            <a:ext cx="593725" cy="681037"/>
          </a:xfrm>
          <a:custGeom>
            <a:avLst/>
            <a:gdLst/>
            <a:ahLst/>
            <a:cxnLst>
              <a:cxn ang="0">
                <a:pos x="2004" y="1739"/>
              </a:cxn>
              <a:cxn ang="0">
                <a:pos x="1854" y="1659"/>
              </a:cxn>
              <a:cxn ang="0">
                <a:pos x="1721" y="1686"/>
              </a:cxn>
              <a:cxn ang="0">
                <a:pos x="1589" y="1712"/>
              </a:cxn>
              <a:cxn ang="0">
                <a:pos x="1509" y="1518"/>
              </a:cxn>
              <a:cxn ang="0">
                <a:pos x="1351" y="1447"/>
              </a:cxn>
              <a:cxn ang="0">
                <a:pos x="1245" y="1580"/>
              </a:cxn>
              <a:cxn ang="0">
                <a:pos x="1333" y="1747"/>
              </a:cxn>
              <a:cxn ang="0">
                <a:pos x="1236" y="1827"/>
              </a:cxn>
              <a:cxn ang="0">
                <a:pos x="1112" y="1906"/>
              </a:cxn>
              <a:cxn ang="0">
                <a:pos x="962" y="1968"/>
              </a:cxn>
              <a:cxn ang="0">
                <a:pos x="795" y="2012"/>
              </a:cxn>
              <a:cxn ang="0">
                <a:pos x="618" y="2277"/>
              </a:cxn>
              <a:cxn ang="0">
                <a:pos x="521" y="2391"/>
              </a:cxn>
              <a:cxn ang="0">
                <a:pos x="468" y="2356"/>
              </a:cxn>
              <a:cxn ang="0">
                <a:pos x="389" y="2241"/>
              </a:cxn>
              <a:cxn ang="0">
                <a:pos x="406" y="2065"/>
              </a:cxn>
              <a:cxn ang="0">
                <a:pos x="442" y="1933"/>
              </a:cxn>
              <a:cxn ang="0">
                <a:pos x="406" y="1800"/>
              </a:cxn>
              <a:cxn ang="0">
                <a:pos x="300" y="1774"/>
              </a:cxn>
              <a:cxn ang="0">
                <a:pos x="168" y="1800"/>
              </a:cxn>
              <a:cxn ang="0">
                <a:pos x="53" y="1730"/>
              </a:cxn>
              <a:cxn ang="0">
                <a:pos x="27" y="1553"/>
              </a:cxn>
              <a:cxn ang="0">
                <a:pos x="36" y="1421"/>
              </a:cxn>
              <a:cxn ang="0">
                <a:pos x="36" y="1262"/>
              </a:cxn>
              <a:cxn ang="0">
                <a:pos x="80" y="1112"/>
              </a:cxn>
              <a:cxn ang="0">
                <a:pos x="80" y="989"/>
              </a:cxn>
              <a:cxn ang="0">
                <a:pos x="106" y="874"/>
              </a:cxn>
              <a:cxn ang="0">
                <a:pos x="115" y="777"/>
              </a:cxn>
              <a:cxn ang="0">
                <a:pos x="106" y="636"/>
              </a:cxn>
              <a:cxn ang="0">
                <a:pos x="115" y="574"/>
              </a:cxn>
              <a:cxn ang="0">
                <a:pos x="177" y="397"/>
              </a:cxn>
              <a:cxn ang="0">
                <a:pos x="203" y="238"/>
              </a:cxn>
              <a:cxn ang="0">
                <a:pos x="239" y="88"/>
              </a:cxn>
              <a:cxn ang="0">
                <a:pos x="362" y="44"/>
              </a:cxn>
              <a:cxn ang="0">
                <a:pos x="477" y="62"/>
              </a:cxn>
              <a:cxn ang="0">
                <a:pos x="556" y="0"/>
              </a:cxn>
              <a:cxn ang="0">
                <a:pos x="627" y="150"/>
              </a:cxn>
              <a:cxn ang="0">
                <a:pos x="627" y="274"/>
              </a:cxn>
              <a:cxn ang="0">
                <a:pos x="689" y="371"/>
              </a:cxn>
              <a:cxn ang="0">
                <a:pos x="848" y="397"/>
              </a:cxn>
              <a:cxn ang="0">
                <a:pos x="936" y="486"/>
              </a:cxn>
              <a:cxn ang="0">
                <a:pos x="1086" y="388"/>
              </a:cxn>
              <a:cxn ang="0">
                <a:pos x="1156" y="309"/>
              </a:cxn>
              <a:cxn ang="0">
                <a:pos x="1227" y="327"/>
              </a:cxn>
              <a:cxn ang="0">
                <a:pos x="1412" y="388"/>
              </a:cxn>
              <a:cxn ang="0">
                <a:pos x="1439" y="521"/>
              </a:cxn>
              <a:cxn ang="0">
                <a:pos x="1554" y="600"/>
              </a:cxn>
              <a:cxn ang="0">
                <a:pos x="1607" y="768"/>
              </a:cxn>
              <a:cxn ang="0">
                <a:pos x="1589" y="883"/>
              </a:cxn>
              <a:cxn ang="0">
                <a:pos x="1598" y="997"/>
              </a:cxn>
              <a:cxn ang="0">
                <a:pos x="1739" y="1041"/>
              </a:cxn>
              <a:cxn ang="0">
                <a:pos x="1809" y="1121"/>
              </a:cxn>
              <a:cxn ang="0">
                <a:pos x="1907" y="1165"/>
              </a:cxn>
              <a:cxn ang="0">
                <a:pos x="2074" y="1244"/>
              </a:cxn>
              <a:cxn ang="0">
                <a:pos x="2074" y="1765"/>
              </a:cxn>
            </a:cxnLst>
            <a:rect l="0" t="0" r="r" b="b"/>
            <a:pathLst>
              <a:path w="2128" h="2410">
                <a:moveTo>
                  <a:pt x="2074" y="1765"/>
                </a:moveTo>
                <a:lnTo>
                  <a:pt x="2004" y="1739"/>
                </a:lnTo>
                <a:lnTo>
                  <a:pt x="1942" y="1694"/>
                </a:lnTo>
                <a:lnTo>
                  <a:pt x="1854" y="1659"/>
                </a:lnTo>
                <a:lnTo>
                  <a:pt x="1774" y="1641"/>
                </a:lnTo>
                <a:lnTo>
                  <a:pt x="1721" y="1686"/>
                </a:lnTo>
                <a:lnTo>
                  <a:pt x="1659" y="1712"/>
                </a:lnTo>
                <a:lnTo>
                  <a:pt x="1589" y="1712"/>
                </a:lnTo>
                <a:lnTo>
                  <a:pt x="1536" y="1624"/>
                </a:lnTo>
                <a:lnTo>
                  <a:pt x="1509" y="1518"/>
                </a:lnTo>
                <a:lnTo>
                  <a:pt x="1430" y="1456"/>
                </a:lnTo>
                <a:lnTo>
                  <a:pt x="1351" y="1447"/>
                </a:lnTo>
                <a:lnTo>
                  <a:pt x="1289" y="1500"/>
                </a:lnTo>
                <a:lnTo>
                  <a:pt x="1245" y="1580"/>
                </a:lnTo>
                <a:lnTo>
                  <a:pt x="1280" y="1659"/>
                </a:lnTo>
                <a:lnTo>
                  <a:pt x="1333" y="1747"/>
                </a:lnTo>
                <a:lnTo>
                  <a:pt x="1298" y="1791"/>
                </a:lnTo>
                <a:lnTo>
                  <a:pt x="1236" y="1827"/>
                </a:lnTo>
                <a:lnTo>
                  <a:pt x="1192" y="1871"/>
                </a:lnTo>
                <a:lnTo>
                  <a:pt x="1112" y="1906"/>
                </a:lnTo>
                <a:lnTo>
                  <a:pt x="1015" y="1906"/>
                </a:lnTo>
                <a:lnTo>
                  <a:pt x="962" y="1968"/>
                </a:lnTo>
                <a:lnTo>
                  <a:pt x="874" y="2003"/>
                </a:lnTo>
                <a:lnTo>
                  <a:pt x="795" y="2012"/>
                </a:lnTo>
                <a:lnTo>
                  <a:pt x="680" y="2162"/>
                </a:lnTo>
                <a:lnTo>
                  <a:pt x="618" y="2277"/>
                </a:lnTo>
                <a:lnTo>
                  <a:pt x="574" y="2339"/>
                </a:lnTo>
                <a:lnTo>
                  <a:pt x="521" y="2391"/>
                </a:lnTo>
                <a:lnTo>
                  <a:pt x="477" y="2409"/>
                </a:lnTo>
                <a:lnTo>
                  <a:pt x="468" y="2356"/>
                </a:lnTo>
                <a:lnTo>
                  <a:pt x="450" y="2277"/>
                </a:lnTo>
                <a:lnTo>
                  <a:pt x="389" y="2241"/>
                </a:lnTo>
                <a:lnTo>
                  <a:pt x="442" y="2127"/>
                </a:lnTo>
                <a:lnTo>
                  <a:pt x="406" y="2065"/>
                </a:lnTo>
                <a:lnTo>
                  <a:pt x="389" y="1986"/>
                </a:lnTo>
                <a:lnTo>
                  <a:pt x="442" y="1933"/>
                </a:lnTo>
                <a:lnTo>
                  <a:pt x="442" y="1853"/>
                </a:lnTo>
                <a:lnTo>
                  <a:pt x="406" y="1800"/>
                </a:lnTo>
                <a:lnTo>
                  <a:pt x="353" y="1747"/>
                </a:lnTo>
                <a:lnTo>
                  <a:pt x="300" y="1774"/>
                </a:lnTo>
                <a:lnTo>
                  <a:pt x="239" y="1809"/>
                </a:lnTo>
                <a:lnTo>
                  <a:pt x="168" y="1800"/>
                </a:lnTo>
                <a:lnTo>
                  <a:pt x="124" y="1747"/>
                </a:lnTo>
                <a:lnTo>
                  <a:pt x="53" y="1730"/>
                </a:lnTo>
                <a:lnTo>
                  <a:pt x="0" y="1624"/>
                </a:lnTo>
                <a:lnTo>
                  <a:pt x="27" y="1553"/>
                </a:lnTo>
                <a:lnTo>
                  <a:pt x="45" y="1456"/>
                </a:lnTo>
                <a:lnTo>
                  <a:pt x="36" y="1421"/>
                </a:lnTo>
                <a:lnTo>
                  <a:pt x="36" y="1341"/>
                </a:lnTo>
                <a:lnTo>
                  <a:pt x="36" y="1262"/>
                </a:lnTo>
                <a:lnTo>
                  <a:pt x="53" y="1191"/>
                </a:lnTo>
                <a:lnTo>
                  <a:pt x="80" y="1112"/>
                </a:lnTo>
                <a:lnTo>
                  <a:pt x="62" y="1050"/>
                </a:lnTo>
                <a:lnTo>
                  <a:pt x="80" y="989"/>
                </a:lnTo>
                <a:lnTo>
                  <a:pt x="124" y="944"/>
                </a:lnTo>
                <a:lnTo>
                  <a:pt x="106" y="874"/>
                </a:lnTo>
                <a:lnTo>
                  <a:pt x="142" y="830"/>
                </a:lnTo>
                <a:lnTo>
                  <a:pt x="115" y="777"/>
                </a:lnTo>
                <a:lnTo>
                  <a:pt x="106" y="715"/>
                </a:lnTo>
                <a:lnTo>
                  <a:pt x="106" y="636"/>
                </a:lnTo>
                <a:lnTo>
                  <a:pt x="80" y="591"/>
                </a:lnTo>
                <a:lnTo>
                  <a:pt x="115" y="574"/>
                </a:lnTo>
                <a:lnTo>
                  <a:pt x="177" y="486"/>
                </a:lnTo>
                <a:lnTo>
                  <a:pt x="177" y="397"/>
                </a:lnTo>
                <a:lnTo>
                  <a:pt x="212" y="336"/>
                </a:lnTo>
                <a:lnTo>
                  <a:pt x="203" y="238"/>
                </a:lnTo>
                <a:lnTo>
                  <a:pt x="212" y="168"/>
                </a:lnTo>
                <a:lnTo>
                  <a:pt x="239" y="88"/>
                </a:lnTo>
                <a:lnTo>
                  <a:pt x="300" y="71"/>
                </a:lnTo>
                <a:lnTo>
                  <a:pt x="362" y="44"/>
                </a:lnTo>
                <a:lnTo>
                  <a:pt x="415" y="80"/>
                </a:lnTo>
                <a:lnTo>
                  <a:pt x="477" y="62"/>
                </a:lnTo>
                <a:lnTo>
                  <a:pt x="521" y="18"/>
                </a:lnTo>
                <a:lnTo>
                  <a:pt x="556" y="0"/>
                </a:lnTo>
                <a:lnTo>
                  <a:pt x="592" y="53"/>
                </a:lnTo>
                <a:lnTo>
                  <a:pt x="627" y="150"/>
                </a:lnTo>
                <a:lnTo>
                  <a:pt x="583" y="203"/>
                </a:lnTo>
                <a:lnTo>
                  <a:pt x="627" y="274"/>
                </a:lnTo>
                <a:lnTo>
                  <a:pt x="671" y="327"/>
                </a:lnTo>
                <a:lnTo>
                  <a:pt x="689" y="371"/>
                </a:lnTo>
                <a:lnTo>
                  <a:pt x="751" y="371"/>
                </a:lnTo>
                <a:lnTo>
                  <a:pt x="848" y="397"/>
                </a:lnTo>
                <a:lnTo>
                  <a:pt x="865" y="450"/>
                </a:lnTo>
                <a:lnTo>
                  <a:pt x="936" y="486"/>
                </a:lnTo>
                <a:lnTo>
                  <a:pt x="1015" y="450"/>
                </a:lnTo>
                <a:lnTo>
                  <a:pt x="1086" y="388"/>
                </a:lnTo>
                <a:lnTo>
                  <a:pt x="1104" y="327"/>
                </a:lnTo>
                <a:lnTo>
                  <a:pt x="1156" y="309"/>
                </a:lnTo>
                <a:lnTo>
                  <a:pt x="1192" y="265"/>
                </a:lnTo>
                <a:lnTo>
                  <a:pt x="1227" y="327"/>
                </a:lnTo>
                <a:lnTo>
                  <a:pt x="1289" y="371"/>
                </a:lnTo>
                <a:lnTo>
                  <a:pt x="1412" y="388"/>
                </a:lnTo>
                <a:lnTo>
                  <a:pt x="1439" y="450"/>
                </a:lnTo>
                <a:lnTo>
                  <a:pt x="1439" y="521"/>
                </a:lnTo>
                <a:lnTo>
                  <a:pt x="1483" y="565"/>
                </a:lnTo>
                <a:lnTo>
                  <a:pt x="1554" y="600"/>
                </a:lnTo>
                <a:lnTo>
                  <a:pt x="1562" y="680"/>
                </a:lnTo>
                <a:lnTo>
                  <a:pt x="1607" y="768"/>
                </a:lnTo>
                <a:lnTo>
                  <a:pt x="1624" y="830"/>
                </a:lnTo>
                <a:lnTo>
                  <a:pt x="1589" y="883"/>
                </a:lnTo>
                <a:lnTo>
                  <a:pt x="1545" y="962"/>
                </a:lnTo>
                <a:lnTo>
                  <a:pt x="1598" y="997"/>
                </a:lnTo>
                <a:lnTo>
                  <a:pt x="1695" y="989"/>
                </a:lnTo>
                <a:lnTo>
                  <a:pt x="1739" y="1041"/>
                </a:lnTo>
                <a:lnTo>
                  <a:pt x="1739" y="1112"/>
                </a:lnTo>
                <a:lnTo>
                  <a:pt x="1809" y="1121"/>
                </a:lnTo>
                <a:lnTo>
                  <a:pt x="1836" y="1174"/>
                </a:lnTo>
                <a:lnTo>
                  <a:pt x="1907" y="1165"/>
                </a:lnTo>
                <a:lnTo>
                  <a:pt x="1960" y="1236"/>
                </a:lnTo>
                <a:lnTo>
                  <a:pt x="2074" y="1244"/>
                </a:lnTo>
                <a:lnTo>
                  <a:pt x="2127" y="1174"/>
                </a:lnTo>
                <a:lnTo>
                  <a:pt x="2074" y="1765"/>
                </a:lnTo>
              </a:path>
            </a:pathLst>
          </a:custGeom>
          <a:solidFill>
            <a:srgbClr val="009900"/>
          </a:solidFill>
          <a:ln w="3175" cap="sq">
            <a:solidFill>
              <a:schemeClr val="tx2">
                <a:lumMod val="50000"/>
                <a:lumOff val="50000"/>
              </a:schemeClr>
            </a:solidFill>
            <a:miter lim="800000"/>
          </a:ln>
          <a:effectLst/>
        </p:spPr>
        <p:txBody>
          <a:bodyPr/>
          <a:lstStyle/>
          <a:p>
            <a:pPr eaLnBrk="0" hangingPunct="0">
              <a:defRPr/>
            </a:pPr>
            <a:endParaRPr lang="es-VE">
              <a:latin typeface="Arial" charset="0"/>
              <a:ea typeface="ＭＳ Ｐゴシック" pitchFamily="1" charset="-128"/>
            </a:endParaRPr>
          </a:p>
        </p:txBody>
      </p:sp>
      <p:grpSp>
        <p:nvGrpSpPr>
          <p:cNvPr id="2" name="71 Grupo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925513" y="2333402"/>
            <a:ext cx="1339850" cy="1522413"/>
            <a:chOff x="1972029" y="2677915"/>
            <a:chExt cx="1339158" cy="1523142"/>
          </a:xfrm>
        </p:grpSpPr>
        <p:sp>
          <p:nvSpPr>
            <p:cNvPr id="73" name="Freeform 2"/>
            <p:cNvSpPr>
              <a:spLocks noChangeArrowheads="1"/>
            </p:cNvSpPr>
            <p:nvPr/>
          </p:nvSpPr>
          <p:spPr bwMode="auto">
            <a:xfrm>
              <a:off x="2224311" y="2677915"/>
              <a:ext cx="1086876" cy="1043487"/>
            </a:xfrm>
            <a:custGeom>
              <a:avLst/>
              <a:gdLst/>
              <a:ahLst/>
              <a:cxnLst>
                <a:cxn ang="0">
                  <a:pos x="3901" y="1897"/>
                </a:cxn>
                <a:cxn ang="0">
                  <a:pos x="3716" y="2073"/>
                </a:cxn>
                <a:cxn ang="0">
                  <a:pos x="3495" y="2258"/>
                </a:cxn>
                <a:cxn ang="0">
                  <a:pos x="3283" y="2417"/>
                </a:cxn>
                <a:cxn ang="0">
                  <a:pos x="3239" y="2664"/>
                </a:cxn>
                <a:cxn ang="0">
                  <a:pos x="3045" y="2929"/>
                </a:cxn>
                <a:cxn ang="0">
                  <a:pos x="3098" y="3105"/>
                </a:cxn>
                <a:cxn ang="0">
                  <a:pos x="3063" y="3352"/>
                </a:cxn>
                <a:cxn ang="0">
                  <a:pos x="2798" y="3388"/>
                </a:cxn>
                <a:cxn ang="0">
                  <a:pos x="2489" y="3476"/>
                </a:cxn>
                <a:cxn ang="0">
                  <a:pos x="2286" y="3697"/>
                </a:cxn>
                <a:cxn ang="0">
                  <a:pos x="2057" y="3458"/>
                </a:cxn>
                <a:cxn ang="0">
                  <a:pos x="1871" y="3485"/>
                </a:cxn>
                <a:cxn ang="0">
                  <a:pos x="1712" y="3626"/>
                </a:cxn>
                <a:cxn ang="0">
                  <a:pos x="1448" y="3697"/>
                </a:cxn>
                <a:cxn ang="0">
                  <a:pos x="1298" y="3520"/>
                </a:cxn>
                <a:cxn ang="0">
                  <a:pos x="1262" y="3238"/>
                </a:cxn>
                <a:cxn ang="0">
                  <a:pos x="1095" y="3061"/>
                </a:cxn>
                <a:cxn ang="0">
                  <a:pos x="830" y="2955"/>
                </a:cxn>
                <a:cxn ang="0">
                  <a:pos x="521" y="2876"/>
                </a:cxn>
                <a:cxn ang="0">
                  <a:pos x="477" y="2638"/>
                </a:cxn>
                <a:cxn ang="0">
                  <a:pos x="283" y="2461"/>
                </a:cxn>
                <a:cxn ang="0">
                  <a:pos x="353" y="2232"/>
                </a:cxn>
                <a:cxn ang="0">
                  <a:pos x="512" y="2029"/>
                </a:cxn>
                <a:cxn ang="0">
                  <a:pos x="768" y="1923"/>
                </a:cxn>
                <a:cxn ang="0">
                  <a:pos x="556" y="1702"/>
                </a:cxn>
                <a:cxn ang="0">
                  <a:pos x="45" y="1138"/>
                </a:cxn>
                <a:cxn ang="0">
                  <a:pos x="212" y="927"/>
                </a:cxn>
                <a:cxn ang="0">
                  <a:pos x="353" y="1067"/>
                </a:cxn>
                <a:cxn ang="0">
                  <a:pos x="442" y="777"/>
                </a:cxn>
                <a:cxn ang="0">
                  <a:pos x="353" y="450"/>
                </a:cxn>
                <a:cxn ang="0">
                  <a:pos x="318" y="274"/>
                </a:cxn>
                <a:cxn ang="0">
                  <a:pos x="556" y="168"/>
                </a:cxn>
                <a:cxn ang="0">
                  <a:pos x="812" y="0"/>
                </a:cxn>
                <a:cxn ang="0">
                  <a:pos x="1015" y="265"/>
                </a:cxn>
                <a:cxn ang="0">
                  <a:pos x="1059" y="521"/>
                </a:cxn>
                <a:cxn ang="0">
                  <a:pos x="848" y="856"/>
                </a:cxn>
                <a:cxn ang="0">
                  <a:pos x="742" y="1244"/>
                </a:cxn>
                <a:cxn ang="0">
                  <a:pos x="927" y="1650"/>
                </a:cxn>
                <a:cxn ang="0">
                  <a:pos x="1748" y="1208"/>
                </a:cxn>
                <a:cxn ang="0">
                  <a:pos x="1968" y="1111"/>
                </a:cxn>
                <a:cxn ang="0">
                  <a:pos x="2233" y="945"/>
                </a:cxn>
                <a:cxn ang="0">
                  <a:pos x="2392" y="839"/>
                </a:cxn>
                <a:cxn ang="0">
                  <a:pos x="2639" y="759"/>
                </a:cxn>
                <a:cxn ang="0">
                  <a:pos x="2930" y="795"/>
                </a:cxn>
                <a:cxn ang="0">
                  <a:pos x="3080" y="1085"/>
                </a:cxn>
                <a:cxn ang="0">
                  <a:pos x="3054" y="1261"/>
                </a:cxn>
                <a:cxn ang="0">
                  <a:pos x="3054" y="1508"/>
                </a:cxn>
                <a:cxn ang="0">
                  <a:pos x="3230" y="1482"/>
                </a:cxn>
                <a:cxn ang="0">
                  <a:pos x="3248" y="1605"/>
                </a:cxn>
                <a:cxn ang="0">
                  <a:pos x="3310" y="1844"/>
                </a:cxn>
                <a:cxn ang="0">
                  <a:pos x="3751" y="1694"/>
                </a:cxn>
              </a:cxnLst>
              <a:rect l="0" t="0" r="r" b="b"/>
              <a:pathLst>
                <a:path w="3902" h="3698">
                  <a:moveTo>
                    <a:pt x="3822" y="1694"/>
                  </a:moveTo>
                  <a:lnTo>
                    <a:pt x="3822" y="1773"/>
                  </a:lnTo>
                  <a:lnTo>
                    <a:pt x="3857" y="1844"/>
                  </a:lnTo>
                  <a:lnTo>
                    <a:pt x="3901" y="1897"/>
                  </a:lnTo>
                  <a:lnTo>
                    <a:pt x="3875" y="1950"/>
                  </a:lnTo>
                  <a:lnTo>
                    <a:pt x="3822" y="2002"/>
                  </a:lnTo>
                  <a:lnTo>
                    <a:pt x="3733" y="2020"/>
                  </a:lnTo>
                  <a:lnTo>
                    <a:pt x="3716" y="2073"/>
                  </a:lnTo>
                  <a:lnTo>
                    <a:pt x="3654" y="2100"/>
                  </a:lnTo>
                  <a:lnTo>
                    <a:pt x="3619" y="2179"/>
                  </a:lnTo>
                  <a:lnTo>
                    <a:pt x="3575" y="2241"/>
                  </a:lnTo>
                  <a:lnTo>
                    <a:pt x="3495" y="2258"/>
                  </a:lnTo>
                  <a:lnTo>
                    <a:pt x="3433" y="2294"/>
                  </a:lnTo>
                  <a:lnTo>
                    <a:pt x="3407" y="2355"/>
                  </a:lnTo>
                  <a:lnTo>
                    <a:pt x="3319" y="2373"/>
                  </a:lnTo>
                  <a:lnTo>
                    <a:pt x="3283" y="2417"/>
                  </a:lnTo>
                  <a:lnTo>
                    <a:pt x="3266" y="2479"/>
                  </a:lnTo>
                  <a:lnTo>
                    <a:pt x="3274" y="2558"/>
                  </a:lnTo>
                  <a:lnTo>
                    <a:pt x="3292" y="2620"/>
                  </a:lnTo>
                  <a:lnTo>
                    <a:pt x="3239" y="2664"/>
                  </a:lnTo>
                  <a:lnTo>
                    <a:pt x="3204" y="2726"/>
                  </a:lnTo>
                  <a:lnTo>
                    <a:pt x="3124" y="2797"/>
                  </a:lnTo>
                  <a:lnTo>
                    <a:pt x="3063" y="2876"/>
                  </a:lnTo>
                  <a:lnTo>
                    <a:pt x="3045" y="2929"/>
                  </a:lnTo>
                  <a:lnTo>
                    <a:pt x="3080" y="2991"/>
                  </a:lnTo>
                  <a:lnTo>
                    <a:pt x="3124" y="3000"/>
                  </a:lnTo>
                  <a:lnTo>
                    <a:pt x="3124" y="3061"/>
                  </a:lnTo>
                  <a:lnTo>
                    <a:pt x="3098" y="3105"/>
                  </a:lnTo>
                  <a:lnTo>
                    <a:pt x="3071" y="3158"/>
                  </a:lnTo>
                  <a:lnTo>
                    <a:pt x="3036" y="3211"/>
                  </a:lnTo>
                  <a:lnTo>
                    <a:pt x="3045" y="3282"/>
                  </a:lnTo>
                  <a:lnTo>
                    <a:pt x="3063" y="3352"/>
                  </a:lnTo>
                  <a:lnTo>
                    <a:pt x="2992" y="3335"/>
                  </a:lnTo>
                  <a:lnTo>
                    <a:pt x="2930" y="3352"/>
                  </a:lnTo>
                  <a:lnTo>
                    <a:pt x="2877" y="3414"/>
                  </a:lnTo>
                  <a:lnTo>
                    <a:pt x="2798" y="3388"/>
                  </a:lnTo>
                  <a:lnTo>
                    <a:pt x="2719" y="3370"/>
                  </a:lnTo>
                  <a:lnTo>
                    <a:pt x="2648" y="3397"/>
                  </a:lnTo>
                  <a:lnTo>
                    <a:pt x="2560" y="3450"/>
                  </a:lnTo>
                  <a:lnTo>
                    <a:pt x="2489" y="3476"/>
                  </a:lnTo>
                  <a:lnTo>
                    <a:pt x="2489" y="3529"/>
                  </a:lnTo>
                  <a:lnTo>
                    <a:pt x="2445" y="3591"/>
                  </a:lnTo>
                  <a:lnTo>
                    <a:pt x="2330" y="3635"/>
                  </a:lnTo>
                  <a:lnTo>
                    <a:pt x="2286" y="3697"/>
                  </a:lnTo>
                  <a:lnTo>
                    <a:pt x="2215" y="3661"/>
                  </a:lnTo>
                  <a:lnTo>
                    <a:pt x="2163" y="3511"/>
                  </a:lnTo>
                  <a:lnTo>
                    <a:pt x="2110" y="3432"/>
                  </a:lnTo>
                  <a:lnTo>
                    <a:pt x="2057" y="3458"/>
                  </a:lnTo>
                  <a:lnTo>
                    <a:pt x="1986" y="3485"/>
                  </a:lnTo>
                  <a:lnTo>
                    <a:pt x="1942" y="3432"/>
                  </a:lnTo>
                  <a:lnTo>
                    <a:pt x="1854" y="3414"/>
                  </a:lnTo>
                  <a:lnTo>
                    <a:pt x="1871" y="3485"/>
                  </a:lnTo>
                  <a:lnTo>
                    <a:pt x="1889" y="3573"/>
                  </a:lnTo>
                  <a:lnTo>
                    <a:pt x="1836" y="3635"/>
                  </a:lnTo>
                  <a:lnTo>
                    <a:pt x="1774" y="3617"/>
                  </a:lnTo>
                  <a:lnTo>
                    <a:pt x="1712" y="3626"/>
                  </a:lnTo>
                  <a:lnTo>
                    <a:pt x="1660" y="3661"/>
                  </a:lnTo>
                  <a:lnTo>
                    <a:pt x="1624" y="3688"/>
                  </a:lnTo>
                  <a:lnTo>
                    <a:pt x="1554" y="3697"/>
                  </a:lnTo>
                  <a:lnTo>
                    <a:pt x="1448" y="3697"/>
                  </a:lnTo>
                  <a:lnTo>
                    <a:pt x="1377" y="3661"/>
                  </a:lnTo>
                  <a:lnTo>
                    <a:pt x="1368" y="3617"/>
                  </a:lnTo>
                  <a:lnTo>
                    <a:pt x="1333" y="3582"/>
                  </a:lnTo>
                  <a:lnTo>
                    <a:pt x="1298" y="3520"/>
                  </a:lnTo>
                  <a:lnTo>
                    <a:pt x="1307" y="3450"/>
                  </a:lnTo>
                  <a:lnTo>
                    <a:pt x="1271" y="3397"/>
                  </a:lnTo>
                  <a:lnTo>
                    <a:pt x="1227" y="3326"/>
                  </a:lnTo>
                  <a:lnTo>
                    <a:pt x="1262" y="3238"/>
                  </a:lnTo>
                  <a:lnTo>
                    <a:pt x="1271" y="3176"/>
                  </a:lnTo>
                  <a:lnTo>
                    <a:pt x="1245" y="3123"/>
                  </a:lnTo>
                  <a:lnTo>
                    <a:pt x="1139" y="3132"/>
                  </a:lnTo>
                  <a:lnTo>
                    <a:pt x="1095" y="3061"/>
                  </a:lnTo>
                  <a:lnTo>
                    <a:pt x="1104" y="2973"/>
                  </a:lnTo>
                  <a:lnTo>
                    <a:pt x="1077" y="2920"/>
                  </a:lnTo>
                  <a:lnTo>
                    <a:pt x="971" y="2929"/>
                  </a:lnTo>
                  <a:lnTo>
                    <a:pt x="830" y="2955"/>
                  </a:lnTo>
                  <a:lnTo>
                    <a:pt x="733" y="2973"/>
                  </a:lnTo>
                  <a:lnTo>
                    <a:pt x="627" y="2982"/>
                  </a:lnTo>
                  <a:lnTo>
                    <a:pt x="548" y="2947"/>
                  </a:lnTo>
                  <a:lnTo>
                    <a:pt x="521" y="2876"/>
                  </a:lnTo>
                  <a:lnTo>
                    <a:pt x="459" y="2841"/>
                  </a:lnTo>
                  <a:lnTo>
                    <a:pt x="451" y="2779"/>
                  </a:lnTo>
                  <a:lnTo>
                    <a:pt x="451" y="2708"/>
                  </a:lnTo>
                  <a:lnTo>
                    <a:pt x="477" y="2638"/>
                  </a:lnTo>
                  <a:lnTo>
                    <a:pt x="424" y="2602"/>
                  </a:lnTo>
                  <a:lnTo>
                    <a:pt x="362" y="2550"/>
                  </a:lnTo>
                  <a:lnTo>
                    <a:pt x="336" y="2488"/>
                  </a:lnTo>
                  <a:lnTo>
                    <a:pt x="283" y="2461"/>
                  </a:lnTo>
                  <a:lnTo>
                    <a:pt x="274" y="2391"/>
                  </a:lnTo>
                  <a:lnTo>
                    <a:pt x="221" y="2338"/>
                  </a:lnTo>
                  <a:lnTo>
                    <a:pt x="221" y="2285"/>
                  </a:lnTo>
                  <a:lnTo>
                    <a:pt x="353" y="2232"/>
                  </a:lnTo>
                  <a:lnTo>
                    <a:pt x="415" y="2197"/>
                  </a:lnTo>
                  <a:lnTo>
                    <a:pt x="406" y="2126"/>
                  </a:lnTo>
                  <a:lnTo>
                    <a:pt x="398" y="2055"/>
                  </a:lnTo>
                  <a:lnTo>
                    <a:pt x="512" y="2029"/>
                  </a:lnTo>
                  <a:lnTo>
                    <a:pt x="592" y="2047"/>
                  </a:lnTo>
                  <a:lnTo>
                    <a:pt x="662" y="2064"/>
                  </a:lnTo>
                  <a:lnTo>
                    <a:pt x="733" y="2055"/>
                  </a:lnTo>
                  <a:lnTo>
                    <a:pt x="768" y="1923"/>
                  </a:lnTo>
                  <a:lnTo>
                    <a:pt x="751" y="1835"/>
                  </a:lnTo>
                  <a:lnTo>
                    <a:pt x="715" y="1764"/>
                  </a:lnTo>
                  <a:lnTo>
                    <a:pt x="645" y="1711"/>
                  </a:lnTo>
                  <a:lnTo>
                    <a:pt x="556" y="1702"/>
                  </a:lnTo>
                  <a:lnTo>
                    <a:pt x="371" y="1482"/>
                  </a:lnTo>
                  <a:lnTo>
                    <a:pt x="62" y="1252"/>
                  </a:lnTo>
                  <a:lnTo>
                    <a:pt x="0" y="1173"/>
                  </a:lnTo>
                  <a:lnTo>
                    <a:pt x="45" y="1138"/>
                  </a:lnTo>
                  <a:lnTo>
                    <a:pt x="106" y="1094"/>
                  </a:lnTo>
                  <a:lnTo>
                    <a:pt x="124" y="1014"/>
                  </a:lnTo>
                  <a:lnTo>
                    <a:pt x="133" y="953"/>
                  </a:lnTo>
                  <a:lnTo>
                    <a:pt x="212" y="927"/>
                  </a:lnTo>
                  <a:lnTo>
                    <a:pt x="248" y="970"/>
                  </a:lnTo>
                  <a:lnTo>
                    <a:pt x="239" y="1014"/>
                  </a:lnTo>
                  <a:lnTo>
                    <a:pt x="256" y="1049"/>
                  </a:lnTo>
                  <a:lnTo>
                    <a:pt x="353" y="1067"/>
                  </a:lnTo>
                  <a:lnTo>
                    <a:pt x="433" y="1041"/>
                  </a:lnTo>
                  <a:lnTo>
                    <a:pt x="459" y="953"/>
                  </a:lnTo>
                  <a:lnTo>
                    <a:pt x="442" y="848"/>
                  </a:lnTo>
                  <a:lnTo>
                    <a:pt x="442" y="777"/>
                  </a:lnTo>
                  <a:lnTo>
                    <a:pt x="406" y="706"/>
                  </a:lnTo>
                  <a:lnTo>
                    <a:pt x="415" y="627"/>
                  </a:lnTo>
                  <a:lnTo>
                    <a:pt x="433" y="539"/>
                  </a:lnTo>
                  <a:lnTo>
                    <a:pt x="353" y="450"/>
                  </a:lnTo>
                  <a:lnTo>
                    <a:pt x="283" y="415"/>
                  </a:lnTo>
                  <a:lnTo>
                    <a:pt x="203" y="345"/>
                  </a:lnTo>
                  <a:lnTo>
                    <a:pt x="248" y="292"/>
                  </a:lnTo>
                  <a:lnTo>
                    <a:pt x="318" y="274"/>
                  </a:lnTo>
                  <a:lnTo>
                    <a:pt x="433" y="256"/>
                  </a:lnTo>
                  <a:lnTo>
                    <a:pt x="486" y="265"/>
                  </a:lnTo>
                  <a:lnTo>
                    <a:pt x="503" y="212"/>
                  </a:lnTo>
                  <a:lnTo>
                    <a:pt x="556" y="168"/>
                  </a:lnTo>
                  <a:lnTo>
                    <a:pt x="636" y="115"/>
                  </a:lnTo>
                  <a:lnTo>
                    <a:pt x="698" y="71"/>
                  </a:lnTo>
                  <a:lnTo>
                    <a:pt x="759" y="36"/>
                  </a:lnTo>
                  <a:lnTo>
                    <a:pt x="812" y="0"/>
                  </a:lnTo>
                  <a:lnTo>
                    <a:pt x="856" y="80"/>
                  </a:lnTo>
                  <a:lnTo>
                    <a:pt x="883" y="159"/>
                  </a:lnTo>
                  <a:lnTo>
                    <a:pt x="936" y="221"/>
                  </a:lnTo>
                  <a:lnTo>
                    <a:pt x="1015" y="265"/>
                  </a:lnTo>
                  <a:lnTo>
                    <a:pt x="1077" y="300"/>
                  </a:lnTo>
                  <a:lnTo>
                    <a:pt x="1086" y="353"/>
                  </a:lnTo>
                  <a:lnTo>
                    <a:pt x="1077" y="450"/>
                  </a:lnTo>
                  <a:lnTo>
                    <a:pt x="1059" y="521"/>
                  </a:lnTo>
                  <a:lnTo>
                    <a:pt x="998" y="565"/>
                  </a:lnTo>
                  <a:lnTo>
                    <a:pt x="936" y="618"/>
                  </a:lnTo>
                  <a:lnTo>
                    <a:pt x="865" y="750"/>
                  </a:lnTo>
                  <a:lnTo>
                    <a:pt x="848" y="856"/>
                  </a:lnTo>
                  <a:lnTo>
                    <a:pt x="848" y="945"/>
                  </a:lnTo>
                  <a:lnTo>
                    <a:pt x="795" y="1032"/>
                  </a:lnTo>
                  <a:lnTo>
                    <a:pt x="759" y="1138"/>
                  </a:lnTo>
                  <a:lnTo>
                    <a:pt x="742" y="1244"/>
                  </a:lnTo>
                  <a:lnTo>
                    <a:pt x="768" y="1376"/>
                  </a:lnTo>
                  <a:lnTo>
                    <a:pt x="786" y="1455"/>
                  </a:lnTo>
                  <a:lnTo>
                    <a:pt x="874" y="1561"/>
                  </a:lnTo>
                  <a:lnTo>
                    <a:pt x="927" y="1650"/>
                  </a:lnTo>
                  <a:lnTo>
                    <a:pt x="1545" y="1623"/>
                  </a:lnTo>
                  <a:lnTo>
                    <a:pt x="1668" y="1420"/>
                  </a:lnTo>
                  <a:lnTo>
                    <a:pt x="1712" y="1323"/>
                  </a:lnTo>
                  <a:lnTo>
                    <a:pt x="1748" y="1208"/>
                  </a:lnTo>
                  <a:lnTo>
                    <a:pt x="1836" y="1191"/>
                  </a:lnTo>
                  <a:lnTo>
                    <a:pt x="1907" y="1226"/>
                  </a:lnTo>
                  <a:lnTo>
                    <a:pt x="1960" y="1191"/>
                  </a:lnTo>
                  <a:lnTo>
                    <a:pt x="1968" y="1111"/>
                  </a:lnTo>
                  <a:lnTo>
                    <a:pt x="2065" y="1067"/>
                  </a:lnTo>
                  <a:lnTo>
                    <a:pt x="2127" y="1005"/>
                  </a:lnTo>
                  <a:lnTo>
                    <a:pt x="2154" y="953"/>
                  </a:lnTo>
                  <a:lnTo>
                    <a:pt x="2233" y="945"/>
                  </a:lnTo>
                  <a:lnTo>
                    <a:pt x="2233" y="883"/>
                  </a:lnTo>
                  <a:lnTo>
                    <a:pt x="2242" y="839"/>
                  </a:lnTo>
                  <a:lnTo>
                    <a:pt x="2313" y="830"/>
                  </a:lnTo>
                  <a:lnTo>
                    <a:pt x="2392" y="839"/>
                  </a:lnTo>
                  <a:lnTo>
                    <a:pt x="2463" y="830"/>
                  </a:lnTo>
                  <a:lnTo>
                    <a:pt x="2524" y="803"/>
                  </a:lnTo>
                  <a:lnTo>
                    <a:pt x="2604" y="812"/>
                  </a:lnTo>
                  <a:lnTo>
                    <a:pt x="2639" y="759"/>
                  </a:lnTo>
                  <a:lnTo>
                    <a:pt x="2674" y="698"/>
                  </a:lnTo>
                  <a:lnTo>
                    <a:pt x="2727" y="662"/>
                  </a:lnTo>
                  <a:lnTo>
                    <a:pt x="2842" y="750"/>
                  </a:lnTo>
                  <a:lnTo>
                    <a:pt x="2930" y="795"/>
                  </a:lnTo>
                  <a:lnTo>
                    <a:pt x="3010" y="856"/>
                  </a:lnTo>
                  <a:lnTo>
                    <a:pt x="3071" y="927"/>
                  </a:lnTo>
                  <a:lnTo>
                    <a:pt x="3089" y="997"/>
                  </a:lnTo>
                  <a:lnTo>
                    <a:pt x="3080" y="1085"/>
                  </a:lnTo>
                  <a:lnTo>
                    <a:pt x="3124" y="1120"/>
                  </a:lnTo>
                  <a:lnTo>
                    <a:pt x="3177" y="1164"/>
                  </a:lnTo>
                  <a:lnTo>
                    <a:pt x="3142" y="1235"/>
                  </a:lnTo>
                  <a:lnTo>
                    <a:pt x="3054" y="1261"/>
                  </a:lnTo>
                  <a:lnTo>
                    <a:pt x="3054" y="1323"/>
                  </a:lnTo>
                  <a:lnTo>
                    <a:pt x="3036" y="1376"/>
                  </a:lnTo>
                  <a:lnTo>
                    <a:pt x="3027" y="1447"/>
                  </a:lnTo>
                  <a:lnTo>
                    <a:pt x="3054" y="1508"/>
                  </a:lnTo>
                  <a:lnTo>
                    <a:pt x="3089" y="1544"/>
                  </a:lnTo>
                  <a:lnTo>
                    <a:pt x="3151" y="1588"/>
                  </a:lnTo>
                  <a:lnTo>
                    <a:pt x="3204" y="1552"/>
                  </a:lnTo>
                  <a:lnTo>
                    <a:pt x="3230" y="1482"/>
                  </a:lnTo>
                  <a:lnTo>
                    <a:pt x="3257" y="1429"/>
                  </a:lnTo>
                  <a:lnTo>
                    <a:pt x="3319" y="1499"/>
                  </a:lnTo>
                  <a:lnTo>
                    <a:pt x="3310" y="1544"/>
                  </a:lnTo>
                  <a:lnTo>
                    <a:pt x="3248" y="1605"/>
                  </a:lnTo>
                  <a:lnTo>
                    <a:pt x="3283" y="1667"/>
                  </a:lnTo>
                  <a:lnTo>
                    <a:pt x="3257" y="1720"/>
                  </a:lnTo>
                  <a:lnTo>
                    <a:pt x="3274" y="1791"/>
                  </a:lnTo>
                  <a:lnTo>
                    <a:pt x="3310" y="1844"/>
                  </a:lnTo>
                  <a:lnTo>
                    <a:pt x="3310" y="1923"/>
                  </a:lnTo>
                  <a:lnTo>
                    <a:pt x="3372" y="1950"/>
                  </a:lnTo>
                  <a:lnTo>
                    <a:pt x="3451" y="1950"/>
                  </a:lnTo>
                  <a:lnTo>
                    <a:pt x="3751" y="1694"/>
                  </a:lnTo>
                  <a:lnTo>
                    <a:pt x="3804" y="1614"/>
                  </a:lnTo>
                  <a:lnTo>
                    <a:pt x="3822" y="1694"/>
                  </a:lnTo>
                </a:path>
              </a:pathLst>
            </a:custGeom>
            <a:solidFill>
              <a:srgbClr val="003399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74" name="Freeform 3"/>
            <p:cNvSpPr>
              <a:spLocks noChangeArrowheads="1"/>
            </p:cNvSpPr>
            <p:nvPr/>
          </p:nvSpPr>
          <p:spPr bwMode="auto">
            <a:xfrm>
              <a:off x="2671754" y="3956465"/>
              <a:ext cx="166602" cy="203297"/>
            </a:xfrm>
            <a:custGeom>
              <a:avLst/>
              <a:gdLst/>
              <a:ahLst/>
              <a:cxnLst>
                <a:cxn ang="0">
                  <a:pos x="547" y="0"/>
                </a:cxn>
                <a:cxn ang="0">
                  <a:pos x="467" y="44"/>
                </a:cxn>
                <a:cxn ang="0">
                  <a:pos x="397" y="26"/>
                </a:cxn>
                <a:cxn ang="0">
                  <a:pos x="317" y="9"/>
                </a:cxn>
                <a:cxn ang="0">
                  <a:pos x="229" y="18"/>
                </a:cxn>
                <a:cxn ang="0">
                  <a:pos x="158" y="26"/>
                </a:cxn>
                <a:cxn ang="0">
                  <a:pos x="176" y="62"/>
                </a:cxn>
                <a:cxn ang="0">
                  <a:pos x="88" y="97"/>
                </a:cxn>
                <a:cxn ang="0">
                  <a:pos x="35" y="106"/>
                </a:cxn>
                <a:cxn ang="0">
                  <a:pos x="0" y="150"/>
                </a:cxn>
                <a:cxn ang="0">
                  <a:pos x="17" y="220"/>
                </a:cxn>
                <a:cxn ang="0">
                  <a:pos x="26" y="291"/>
                </a:cxn>
                <a:cxn ang="0">
                  <a:pos x="61" y="344"/>
                </a:cxn>
                <a:cxn ang="0">
                  <a:pos x="105" y="397"/>
                </a:cxn>
                <a:cxn ang="0">
                  <a:pos x="88" y="468"/>
                </a:cxn>
                <a:cxn ang="0">
                  <a:pos x="114" y="565"/>
                </a:cxn>
                <a:cxn ang="0">
                  <a:pos x="114" y="644"/>
                </a:cxn>
                <a:cxn ang="0">
                  <a:pos x="150" y="706"/>
                </a:cxn>
                <a:cxn ang="0">
                  <a:pos x="211" y="723"/>
                </a:cxn>
                <a:cxn ang="0">
                  <a:pos x="220" y="653"/>
                </a:cxn>
                <a:cxn ang="0">
                  <a:pos x="247" y="591"/>
                </a:cxn>
                <a:cxn ang="0">
                  <a:pos x="300" y="494"/>
                </a:cxn>
                <a:cxn ang="0">
                  <a:pos x="353" y="397"/>
                </a:cxn>
                <a:cxn ang="0">
                  <a:pos x="344" y="335"/>
                </a:cxn>
                <a:cxn ang="0">
                  <a:pos x="361" y="265"/>
                </a:cxn>
                <a:cxn ang="0">
                  <a:pos x="423" y="203"/>
                </a:cxn>
                <a:cxn ang="0">
                  <a:pos x="494" y="132"/>
                </a:cxn>
                <a:cxn ang="0">
                  <a:pos x="564" y="97"/>
                </a:cxn>
                <a:cxn ang="0">
                  <a:pos x="600" y="44"/>
                </a:cxn>
                <a:cxn ang="0">
                  <a:pos x="547" y="0"/>
                </a:cxn>
              </a:cxnLst>
              <a:rect l="0" t="0" r="r" b="b"/>
              <a:pathLst>
                <a:path w="601" h="724">
                  <a:moveTo>
                    <a:pt x="547" y="0"/>
                  </a:moveTo>
                  <a:lnTo>
                    <a:pt x="467" y="44"/>
                  </a:lnTo>
                  <a:lnTo>
                    <a:pt x="397" y="26"/>
                  </a:lnTo>
                  <a:lnTo>
                    <a:pt x="317" y="9"/>
                  </a:lnTo>
                  <a:lnTo>
                    <a:pt x="229" y="18"/>
                  </a:lnTo>
                  <a:lnTo>
                    <a:pt x="158" y="26"/>
                  </a:lnTo>
                  <a:lnTo>
                    <a:pt x="176" y="62"/>
                  </a:lnTo>
                  <a:lnTo>
                    <a:pt x="88" y="97"/>
                  </a:lnTo>
                  <a:lnTo>
                    <a:pt x="35" y="106"/>
                  </a:lnTo>
                  <a:lnTo>
                    <a:pt x="0" y="150"/>
                  </a:lnTo>
                  <a:lnTo>
                    <a:pt x="17" y="220"/>
                  </a:lnTo>
                  <a:lnTo>
                    <a:pt x="26" y="291"/>
                  </a:lnTo>
                  <a:lnTo>
                    <a:pt x="61" y="344"/>
                  </a:lnTo>
                  <a:lnTo>
                    <a:pt x="105" y="397"/>
                  </a:lnTo>
                  <a:lnTo>
                    <a:pt x="88" y="468"/>
                  </a:lnTo>
                  <a:lnTo>
                    <a:pt x="114" y="565"/>
                  </a:lnTo>
                  <a:lnTo>
                    <a:pt x="114" y="644"/>
                  </a:lnTo>
                  <a:lnTo>
                    <a:pt x="150" y="706"/>
                  </a:lnTo>
                  <a:lnTo>
                    <a:pt x="211" y="723"/>
                  </a:lnTo>
                  <a:lnTo>
                    <a:pt x="220" y="653"/>
                  </a:lnTo>
                  <a:lnTo>
                    <a:pt x="247" y="591"/>
                  </a:lnTo>
                  <a:lnTo>
                    <a:pt x="300" y="494"/>
                  </a:lnTo>
                  <a:lnTo>
                    <a:pt x="353" y="397"/>
                  </a:lnTo>
                  <a:lnTo>
                    <a:pt x="344" y="335"/>
                  </a:lnTo>
                  <a:lnTo>
                    <a:pt x="361" y="265"/>
                  </a:lnTo>
                  <a:lnTo>
                    <a:pt x="423" y="203"/>
                  </a:lnTo>
                  <a:lnTo>
                    <a:pt x="494" y="132"/>
                  </a:lnTo>
                  <a:lnTo>
                    <a:pt x="564" y="97"/>
                  </a:lnTo>
                  <a:lnTo>
                    <a:pt x="600" y="44"/>
                  </a:lnTo>
                  <a:lnTo>
                    <a:pt x="547" y="0"/>
                  </a:lnTo>
                </a:path>
              </a:pathLst>
            </a:custGeom>
            <a:solidFill>
              <a:srgbClr val="003399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75" name="Freeform 14"/>
            <p:cNvSpPr>
              <a:spLocks noChangeArrowheads="1"/>
            </p:cNvSpPr>
            <p:nvPr/>
          </p:nvSpPr>
          <p:spPr bwMode="auto">
            <a:xfrm>
              <a:off x="2655888" y="3618165"/>
              <a:ext cx="420471" cy="303358"/>
            </a:xfrm>
            <a:custGeom>
              <a:avLst/>
              <a:gdLst/>
              <a:ahLst/>
              <a:cxnLst>
                <a:cxn ang="0">
                  <a:pos x="1438" y="0"/>
                </a:cxn>
                <a:cxn ang="0">
                  <a:pos x="1323" y="79"/>
                </a:cxn>
                <a:cxn ang="0">
                  <a:pos x="1165" y="35"/>
                </a:cxn>
                <a:cxn ang="0">
                  <a:pos x="1006" y="115"/>
                </a:cxn>
                <a:cxn ang="0">
                  <a:pos x="935" y="194"/>
                </a:cxn>
                <a:cxn ang="0">
                  <a:pos x="776" y="300"/>
                </a:cxn>
                <a:cxn ang="0">
                  <a:pos x="661" y="326"/>
                </a:cxn>
                <a:cxn ang="0">
                  <a:pos x="556" y="97"/>
                </a:cxn>
                <a:cxn ang="0">
                  <a:pos x="432" y="150"/>
                </a:cxn>
                <a:cxn ang="0">
                  <a:pos x="300" y="79"/>
                </a:cxn>
                <a:cxn ang="0">
                  <a:pos x="335" y="238"/>
                </a:cxn>
                <a:cxn ang="0">
                  <a:pos x="220" y="282"/>
                </a:cxn>
                <a:cxn ang="0">
                  <a:pos x="106" y="326"/>
                </a:cxn>
                <a:cxn ang="0">
                  <a:pos x="0" y="362"/>
                </a:cxn>
                <a:cxn ang="0">
                  <a:pos x="0" y="485"/>
                </a:cxn>
                <a:cxn ang="0">
                  <a:pos x="123" y="459"/>
                </a:cxn>
                <a:cxn ang="0">
                  <a:pos x="132" y="538"/>
                </a:cxn>
                <a:cxn ang="0">
                  <a:pos x="79" y="635"/>
                </a:cxn>
                <a:cxn ang="0">
                  <a:pos x="61" y="759"/>
                </a:cxn>
                <a:cxn ang="0">
                  <a:pos x="132" y="838"/>
                </a:cxn>
                <a:cxn ang="0">
                  <a:pos x="203" y="918"/>
                </a:cxn>
                <a:cxn ang="0">
                  <a:pos x="361" y="944"/>
                </a:cxn>
                <a:cxn ang="0">
                  <a:pos x="467" y="979"/>
                </a:cxn>
                <a:cxn ang="0">
                  <a:pos x="547" y="1041"/>
                </a:cxn>
                <a:cxn ang="0">
                  <a:pos x="688" y="1032"/>
                </a:cxn>
                <a:cxn ang="0">
                  <a:pos x="679" y="926"/>
                </a:cxn>
                <a:cxn ang="0">
                  <a:pos x="661" y="768"/>
                </a:cxn>
                <a:cxn ang="0">
                  <a:pos x="794" y="723"/>
                </a:cxn>
                <a:cxn ang="0">
                  <a:pos x="917" y="670"/>
                </a:cxn>
                <a:cxn ang="0">
                  <a:pos x="1023" y="556"/>
                </a:cxn>
                <a:cxn ang="0">
                  <a:pos x="1200" y="538"/>
                </a:cxn>
                <a:cxn ang="0">
                  <a:pos x="1385" y="503"/>
                </a:cxn>
                <a:cxn ang="0">
                  <a:pos x="1447" y="326"/>
                </a:cxn>
                <a:cxn ang="0">
                  <a:pos x="1473" y="167"/>
                </a:cxn>
                <a:cxn ang="0">
                  <a:pos x="1509" y="17"/>
                </a:cxn>
              </a:cxnLst>
              <a:rect l="0" t="0" r="r" b="b"/>
              <a:pathLst>
                <a:path w="1510" h="1077">
                  <a:moveTo>
                    <a:pt x="1509" y="17"/>
                  </a:moveTo>
                  <a:lnTo>
                    <a:pt x="1438" y="0"/>
                  </a:lnTo>
                  <a:lnTo>
                    <a:pt x="1376" y="17"/>
                  </a:lnTo>
                  <a:lnTo>
                    <a:pt x="1323" y="79"/>
                  </a:lnTo>
                  <a:lnTo>
                    <a:pt x="1244" y="53"/>
                  </a:lnTo>
                  <a:lnTo>
                    <a:pt x="1165" y="35"/>
                  </a:lnTo>
                  <a:lnTo>
                    <a:pt x="1094" y="62"/>
                  </a:lnTo>
                  <a:lnTo>
                    <a:pt x="1006" y="115"/>
                  </a:lnTo>
                  <a:lnTo>
                    <a:pt x="935" y="141"/>
                  </a:lnTo>
                  <a:lnTo>
                    <a:pt x="935" y="194"/>
                  </a:lnTo>
                  <a:lnTo>
                    <a:pt x="891" y="256"/>
                  </a:lnTo>
                  <a:lnTo>
                    <a:pt x="776" y="300"/>
                  </a:lnTo>
                  <a:lnTo>
                    <a:pt x="732" y="362"/>
                  </a:lnTo>
                  <a:lnTo>
                    <a:pt x="661" y="326"/>
                  </a:lnTo>
                  <a:lnTo>
                    <a:pt x="609" y="176"/>
                  </a:lnTo>
                  <a:lnTo>
                    <a:pt x="556" y="97"/>
                  </a:lnTo>
                  <a:lnTo>
                    <a:pt x="503" y="123"/>
                  </a:lnTo>
                  <a:lnTo>
                    <a:pt x="432" y="150"/>
                  </a:lnTo>
                  <a:lnTo>
                    <a:pt x="388" y="97"/>
                  </a:lnTo>
                  <a:lnTo>
                    <a:pt x="300" y="79"/>
                  </a:lnTo>
                  <a:lnTo>
                    <a:pt x="317" y="150"/>
                  </a:lnTo>
                  <a:lnTo>
                    <a:pt x="335" y="238"/>
                  </a:lnTo>
                  <a:lnTo>
                    <a:pt x="282" y="300"/>
                  </a:lnTo>
                  <a:lnTo>
                    <a:pt x="220" y="282"/>
                  </a:lnTo>
                  <a:lnTo>
                    <a:pt x="158" y="291"/>
                  </a:lnTo>
                  <a:lnTo>
                    <a:pt x="106" y="326"/>
                  </a:lnTo>
                  <a:lnTo>
                    <a:pt x="70" y="353"/>
                  </a:lnTo>
                  <a:lnTo>
                    <a:pt x="0" y="362"/>
                  </a:lnTo>
                  <a:lnTo>
                    <a:pt x="35" y="432"/>
                  </a:lnTo>
                  <a:lnTo>
                    <a:pt x="0" y="485"/>
                  </a:lnTo>
                  <a:lnTo>
                    <a:pt x="61" y="494"/>
                  </a:lnTo>
                  <a:lnTo>
                    <a:pt x="123" y="459"/>
                  </a:lnTo>
                  <a:lnTo>
                    <a:pt x="194" y="476"/>
                  </a:lnTo>
                  <a:lnTo>
                    <a:pt x="132" y="538"/>
                  </a:lnTo>
                  <a:lnTo>
                    <a:pt x="88" y="582"/>
                  </a:lnTo>
                  <a:lnTo>
                    <a:pt x="79" y="635"/>
                  </a:lnTo>
                  <a:lnTo>
                    <a:pt x="79" y="688"/>
                  </a:lnTo>
                  <a:lnTo>
                    <a:pt x="61" y="759"/>
                  </a:lnTo>
                  <a:lnTo>
                    <a:pt x="61" y="829"/>
                  </a:lnTo>
                  <a:lnTo>
                    <a:pt x="132" y="838"/>
                  </a:lnTo>
                  <a:lnTo>
                    <a:pt x="185" y="856"/>
                  </a:lnTo>
                  <a:lnTo>
                    <a:pt x="203" y="918"/>
                  </a:lnTo>
                  <a:lnTo>
                    <a:pt x="238" y="962"/>
                  </a:lnTo>
                  <a:lnTo>
                    <a:pt x="361" y="944"/>
                  </a:lnTo>
                  <a:lnTo>
                    <a:pt x="441" y="944"/>
                  </a:lnTo>
                  <a:lnTo>
                    <a:pt x="467" y="979"/>
                  </a:lnTo>
                  <a:lnTo>
                    <a:pt x="547" y="988"/>
                  </a:lnTo>
                  <a:lnTo>
                    <a:pt x="547" y="1041"/>
                  </a:lnTo>
                  <a:lnTo>
                    <a:pt x="626" y="1076"/>
                  </a:lnTo>
                  <a:lnTo>
                    <a:pt x="688" y="1032"/>
                  </a:lnTo>
                  <a:lnTo>
                    <a:pt x="679" y="979"/>
                  </a:lnTo>
                  <a:lnTo>
                    <a:pt x="679" y="926"/>
                  </a:lnTo>
                  <a:lnTo>
                    <a:pt x="697" y="856"/>
                  </a:lnTo>
                  <a:lnTo>
                    <a:pt x="661" y="768"/>
                  </a:lnTo>
                  <a:lnTo>
                    <a:pt x="706" y="723"/>
                  </a:lnTo>
                  <a:lnTo>
                    <a:pt x="794" y="723"/>
                  </a:lnTo>
                  <a:lnTo>
                    <a:pt x="838" y="688"/>
                  </a:lnTo>
                  <a:lnTo>
                    <a:pt x="917" y="670"/>
                  </a:lnTo>
                  <a:lnTo>
                    <a:pt x="979" y="600"/>
                  </a:lnTo>
                  <a:lnTo>
                    <a:pt x="1023" y="556"/>
                  </a:lnTo>
                  <a:lnTo>
                    <a:pt x="1094" y="529"/>
                  </a:lnTo>
                  <a:lnTo>
                    <a:pt x="1200" y="538"/>
                  </a:lnTo>
                  <a:lnTo>
                    <a:pt x="1315" y="538"/>
                  </a:lnTo>
                  <a:lnTo>
                    <a:pt x="1385" y="503"/>
                  </a:lnTo>
                  <a:lnTo>
                    <a:pt x="1447" y="415"/>
                  </a:lnTo>
                  <a:lnTo>
                    <a:pt x="1447" y="326"/>
                  </a:lnTo>
                  <a:lnTo>
                    <a:pt x="1482" y="265"/>
                  </a:lnTo>
                  <a:lnTo>
                    <a:pt x="1473" y="167"/>
                  </a:lnTo>
                  <a:lnTo>
                    <a:pt x="1482" y="97"/>
                  </a:lnTo>
                  <a:lnTo>
                    <a:pt x="1509" y="17"/>
                  </a:lnTo>
                </a:path>
              </a:pathLst>
            </a:custGeom>
            <a:solidFill>
              <a:srgbClr val="003399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76" name="Freeform 15"/>
            <p:cNvSpPr>
              <a:spLocks noChangeArrowheads="1"/>
            </p:cNvSpPr>
            <p:nvPr/>
          </p:nvSpPr>
          <p:spPr bwMode="auto">
            <a:xfrm>
              <a:off x="1972029" y="2765270"/>
              <a:ext cx="642605" cy="1435787"/>
            </a:xfrm>
            <a:custGeom>
              <a:avLst/>
              <a:gdLst/>
              <a:ahLst/>
              <a:cxnLst>
                <a:cxn ang="0">
                  <a:pos x="2198" y="3211"/>
                </a:cxn>
                <a:cxn ang="0">
                  <a:pos x="2162" y="2929"/>
                </a:cxn>
                <a:cxn ang="0">
                  <a:pos x="1995" y="2752"/>
                </a:cxn>
                <a:cxn ang="0">
                  <a:pos x="1730" y="2646"/>
                </a:cxn>
                <a:cxn ang="0">
                  <a:pos x="1421" y="2567"/>
                </a:cxn>
                <a:cxn ang="0">
                  <a:pos x="1377" y="2329"/>
                </a:cxn>
                <a:cxn ang="0">
                  <a:pos x="1183" y="2152"/>
                </a:cxn>
                <a:cxn ang="0">
                  <a:pos x="1253" y="1923"/>
                </a:cxn>
                <a:cxn ang="0">
                  <a:pos x="1412" y="1720"/>
                </a:cxn>
                <a:cxn ang="0">
                  <a:pos x="1668" y="1614"/>
                </a:cxn>
                <a:cxn ang="0">
                  <a:pos x="1456" y="1393"/>
                </a:cxn>
                <a:cxn ang="0">
                  <a:pos x="945" y="829"/>
                </a:cxn>
                <a:cxn ang="0">
                  <a:pos x="1112" y="618"/>
                </a:cxn>
                <a:cxn ang="0">
                  <a:pos x="1059" y="371"/>
                </a:cxn>
                <a:cxn ang="0">
                  <a:pos x="768" y="177"/>
                </a:cxn>
                <a:cxn ang="0">
                  <a:pos x="503" y="106"/>
                </a:cxn>
                <a:cxn ang="0">
                  <a:pos x="627" y="371"/>
                </a:cxn>
                <a:cxn ang="0">
                  <a:pos x="786" y="609"/>
                </a:cxn>
                <a:cxn ang="0">
                  <a:pos x="742" y="829"/>
                </a:cxn>
                <a:cxn ang="0">
                  <a:pos x="283" y="1120"/>
                </a:cxn>
                <a:cxn ang="0">
                  <a:pos x="186" y="1279"/>
                </a:cxn>
                <a:cxn ang="0">
                  <a:pos x="71" y="1605"/>
                </a:cxn>
                <a:cxn ang="0">
                  <a:pos x="309" y="1852"/>
                </a:cxn>
                <a:cxn ang="0">
                  <a:pos x="389" y="2011"/>
                </a:cxn>
                <a:cxn ang="0">
                  <a:pos x="583" y="2117"/>
                </a:cxn>
                <a:cxn ang="0">
                  <a:pos x="671" y="2346"/>
                </a:cxn>
                <a:cxn ang="0">
                  <a:pos x="556" y="2549"/>
                </a:cxn>
                <a:cxn ang="0">
                  <a:pos x="662" y="2805"/>
                </a:cxn>
                <a:cxn ang="0">
                  <a:pos x="750" y="3035"/>
                </a:cxn>
                <a:cxn ang="0">
                  <a:pos x="697" y="3317"/>
                </a:cxn>
                <a:cxn ang="0">
                  <a:pos x="503" y="3379"/>
                </a:cxn>
                <a:cxn ang="0">
                  <a:pos x="618" y="3546"/>
                </a:cxn>
                <a:cxn ang="0">
                  <a:pos x="689" y="3820"/>
                </a:cxn>
                <a:cxn ang="0">
                  <a:pos x="750" y="4146"/>
                </a:cxn>
                <a:cxn ang="0">
                  <a:pos x="777" y="4464"/>
                </a:cxn>
                <a:cxn ang="0">
                  <a:pos x="653" y="4746"/>
                </a:cxn>
                <a:cxn ang="0">
                  <a:pos x="547" y="4914"/>
                </a:cxn>
                <a:cxn ang="0">
                  <a:pos x="768" y="4870"/>
                </a:cxn>
                <a:cxn ang="0">
                  <a:pos x="998" y="4879"/>
                </a:cxn>
                <a:cxn ang="0">
                  <a:pos x="1333" y="5011"/>
                </a:cxn>
                <a:cxn ang="0">
                  <a:pos x="1686" y="5029"/>
                </a:cxn>
                <a:cxn ang="0">
                  <a:pos x="1827" y="4835"/>
                </a:cxn>
                <a:cxn ang="0">
                  <a:pos x="1668" y="4579"/>
                </a:cxn>
                <a:cxn ang="0">
                  <a:pos x="1906" y="4235"/>
                </a:cxn>
                <a:cxn ang="0">
                  <a:pos x="2154" y="3996"/>
                </a:cxn>
                <a:cxn ang="0">
                  <a:pos x="2012" y="3758"/>
                </a:cxn>
                <a:cxn ang="0">
                  <a:pos x="2039" y="3538"/>
                </a:cxn>
                <a:cxn ang="0">
                  <a:pos x="2304" y="3432"/>
                </a:cxn>
              </a:cxnLst>
              <a:rect l="0" t="0" r="r" b="b"/>
              <a:pathLst>
                <a:path w="2305" h="5092">
                  <a:moveTo>
                    <a:pt x="2277" y="3352"/>
                  </a:moveTo>
                  <a:lnTo>
                    <a:pt x="2268" y="3308"/>
                  </a:lnTo>
                  <a:lnTo>
                    <a:pt x="2233" y="3273"/>
                  </a:lnTo>
                  <a:lnTo>
                    <a:pt x="2198" y="3211"/>
                  </a:lnTo>
                  <a:lnTo>
                    <a:pt x="2207" y="3141"/>
                  </a:lnTo>
                  <a:lnTo>
                    <a:pt x="2171" y="3088"/>
                  </a:lnTo>
                  <a:lnTo>
                    <a:pt x="2127" y="3017"/>
                  </a:lnTo>
                  <a:lnTo>
                    <a:pt x="2162" y="2929"/>
                  </a:lnTo>
                  <a:lnTo>
                    <a:pt x="2171" y="2867"/>
                  </a:lnTo>
                  <a:lnTo>
                    <a:pt x="2145" y="2814"/>
                  </a:lnTo>
                  <a:lnTo>
                    <a:pt x="2039" y="2823"/>
                  </a:lnTo>
                  <a:lnTo>
                    <a:pt x="1995" y="2752"/>
                  </a:lnTo>
                  <a:lnTo>
                    <a:pt x="2004" y="2664"/>
                  </a:lnTo>
                  <a:lnTo>
                    <a:pt x="1977" y="2611"/>
                  </a:lnTo>
                  <a:lnTo>
                    <a:pt x="1871" y="2620"/>
                  </a:lnTo>
                  <a:lnTo>
                    <a:pt x="1730" y="2646"/>
                  </a:lnTo>
                  <a:lnTo>
                    <a:pt x="1633" y="2664"/>
                  </a:lnTo>
                  <a:lnTo>
                    <a:pt x="1527" y="2673"/>
                  </a:lnTo>
                  <a:lnTo>
                    <a:pt x="1448" y="2638"/>
                  </a:lnTo>
                  <a:lnTo>
                    <a:pt x="1421" y="2567"/>
                  </a:lnTo>
                  <a:lnTo>
                    <a:pt x="1359" y="2532"/>
                  </a:lnTo>
                  <a:lnTo>
                    <a:pt x="1351" y="2470"/>
                  </a:lnTo>
                  <a:lnTo>
                    <a:pt x="1351" y="2399"/>
                  </a:lnTo>
                  <a:lnTo>
                    <a:pt x="1377" y="2329"/>
                  </a:lnTo>
                  <a:lnTo>
                    <a:pt x="1324" y="2293"/>
                  </a:lnTo>
                  <a:lnTo>
                    <a:pt x="1262" y="2241"/>
                  </a:lnTo>
                  <a:lnTo>
                    <a:pt x="1236" y="2179"/>
                  </a:lnTo>
                  <a:lnTo>
                    <a:pt x="1183" y="2152"/>
                  </a:lnTo>
                  <a:lnTo>
                    <a:pt x="1174" y="2082"/>
                  </a:lnTo>
                  <a:lnTo>
                    <a:pt x="1121" y="2029"/>
                  </a:lnTo>
                  <a:lnTo>
                    <a:pt x="1121" y="1976"/>
                  </a:lnTo>
                  <a:lnTo>
                    <a:pt x="1253" y="1923"/>
                  </a:lnTo>
                  <a:lnTo>
                    <a:pt x="1315" y="1888"/>
                  </a:lnTo>
                  <a:lnTo>
                    <a:pt x="1306" y="1817"/>
                  </a:lnTo>
                  <a:lnTo>
                    <a:pt x="1298" y="1746"/>
                  </a:lnTo>
                  <a:lnTo>
                    <a:pt x="1412" y="1720"/>
                  </a:lnTo>
                  <a:lnTo>
                    <a:pt x="1492" y="1738"/>
                  </a:lnTo>
                  <a:lnTo>
                    <a:pt x="1562" y="1755"/>
                  </a:lnTo>
                  <a:lnTo>
                    <a:pt x="1633" y="1746"/>
                  </a:lnTo>
                  <a:lnTo>
                    <a:pt x="1668" y="1614"/>
                  </a:lnTo>
                  <a:lnTo>
                    <a:pt x="1651" y="1526"/>
                  </a:lnTo>
                  <a:lnTo>
                    <a:pt x="1615" y="1455"/>
                  </a:lnTo>
                  <a:lnTo>
                    <a:pt x="1545" y="1402"/>
                  </a:lnTo>
                  <a:lnTo>
                    <a:pt x="1456" y="1393"/>
                  </a:lnTo>
                  <a:lnTo>
                    <a:pt x="1271" y="1173"/>
                  </a:lnTo>
                  <a:lnTo>
                    <a:pt x="962" y="943"/>
                  </a:lnTo>
                  <a:lnTo>
                    <a:pt x="900" y="864"/>
                  </a:lnTo>
                  <a:lnTo>
                    <a:pt x="945" y="829"/>
                  </a:lnTo>
                  <a:lnTo>
                    <a:pt x="1006" y="785"/>
                  </a:lnTo>
                  <a:lnTo>
                    <a:pt x="1024" y="705"/>
                  </a:lnTo>
                  <a:lnTo>
                    <a:pt x="1033" y="644"/>
                  </a:lnTo>
                  <a:lnTo>
                    <a:pt x="1112" y="618"/>
                  </a:lnTo>
                  <a:lnTo>
                    <a:pt x="1103" y="556"/>
                  </a:lnTo>
                  <a:lnTo>
                    <a:pt x="1077" y="494"/>
                  </a:lnTo>
                  <a:lnTo>
                    <a:pt x="1095" y="441"/>
                  </a:lnTo>
                  <a:lnTo>
                    <a:pt x="1059" y="371"/>
                  </a:lnTo>
                  <a:lnTo>
                    <a:pt x="971" y="371"/>
                  </a:lnTo>
                  <a:lnTo>
                    <a:pt x="927" y="327"/>
                  </a:lnTo>
                  <a:lnTo>
                    <a:pt x="865" y="203"/>
                  </a:lnTo>
                  <a:lnTo>
                    <a:pt x="768" y="177"/>
                  </a:lnTo>
                  <a:lnTo>
                    <a:pt x="697" y="141"/>
                  </a:lnTo>
                  <a:lnTo>
                    <a:pt x="689" y="80"/>
                  </a:lnTo>
                  <a:lnTo>
                    <a:pt x="583" y="0"/>
                  </a:lnTo>
                  <a:lnTo>
                    <a:pt x="503" y="106"/>
                  </a:lnTo>
                  <a:lnTo>
                    <a:pt x="512" y="168"/>
                  </a:lnTo>
                  <a:lnTo>
                    <a:pt x="565" y="221"/>
                  </a:lnTo>
                  <a:lnTo>
                    <a:pt x="627" y="291"/>
                  </a:lnTo>
                  <a:lnTo>
                    <a:pt x="627" y="371"/>
                  </a:lnTo>
                  <a:lnTo>
                    <a:pt x="680" y="424"/>
                  </a:lnTo>
                  <a:lnTo>
                    <a:pt x="742" y="486"/>
                  </a:lnTo>
                  <a:lnTo>
                    <a:pt x="759" y="556"/>
                  </a:lnTo>
                  <a:lnTo>
                    <a:pt x="786" y="609"/>
                  </a:lnTo>
                  <a:lnTo>
                    <a:pt x="812" y="696"/>
                  </a:lnTo>
                  <a:lnTo>
                    <a:pt x="803" y="740"/>
                  </a:lnTo>
                  <a:lnTo>
                    <a:pt x="803" y="793"/>
                  </a:lnTo>
                  <a:lnTo>
                    <a:pt x="742" y="829"/>
                  </a:lnTo>
                  <a:lnTo>
                    <a:pt x="671" y="855"/>
                  </a:lnTo>
                  <a:lnTo>
                    <a:pt x="406" y="1217"/>
                  </a:lnTo>
                  <a:lnTo>
                    <a:pt x="344" y="1199"/>
                  </a:lnTo>
                  <a:lnTo>
                    <a:pt x="283" y="1120"/>
                  </a:lnTo>
                  <a:lnTo>
                    <a:pt x="230" y="1067"/>
                  </a:lnTo>
                  <a:lnTo>
                    <a:pt x="177" y="1093"/>
                  </a:lnTo>
                  <a:lnTo>
                    <a:pt x="186" y="1199"/>
                  </a:lnTo>
                  <a:lnTo>
                    <a:pt x="186" y="1279"/>
                  </a:lnTo>
                  <a:lnTo>
                    <a:pt x="97" y="1323"/>
                  </a:lnTo>
                  <a:lnTo>
                    <a:pt x="80" y="1358"/>
                  </a:lnTo>
                  <a:lnTo>
                    <a:pt x="0" y="1552"/>
                  </a:lnTo>
                  <a:lnTo>
                    <a:pt x="71" y="1605"/>
                  </a:lnTo>
                  <a:lnTo>
                    <a:pt x="142" y="1667"/>
                  </a:lnTo>
                  <a:lnTo>
                    <a:pt x="239" y="1729"/>
                  </a:lnTo>
                  <a:lnTo>
                    <a:pt x="283" y="1791"/>
                  </a:lnTo>
                  <a:lnTo>
                    <a:pt x="309" y="1852"/>
                  </a:lnTo>
                  <a:lnTo>
                    <a:pt x="265" y="1888"/>
                  </a:lnTo>
                  <a:lnTo>
                    <a:pt x="239" y="1949"/>
                  </a:lnTo>
                  <a:lnTo>
                    <a:pt x="309" y="1985"/>
                  </a:lnTo>
                  <a:lnTo>
                    <a:pt x="389" y="2011"/>
                  </a:lnTo>
                  <a:lnTo>
                    <a:pt x="442" y="2073"/>
                  </a:lnTo>
                  <a:lnTo>
                    <a:pt x="459" y="2161"/>
                  </a:lnTo>
                  <a:lnTo>
                    <a:pt x="512" y="2117"/>
                  </a:lnTo>
                  <a:lnTo>
                    <a:pt x="583" y="2117"/>
                  </a:lnTo>
                  <a:lnTo>
                    <a:pt x="636" y="2161"/>
                  </a:lnTo>
                  <a:lnTo>
                    <a:pt x="627" y="2205"/>
                  </a:lnTo>
                  <a:lnTo>
                    <a:pt x="671" y="2267"/>
                  </a:lnTo>
                  <a:lnTo>
                    <a:pt x="671" y="2346"/>
                  </a:lnTo>
                  <a:lnTo>
                    <a:pt x="671" y="2435"/>
                  </a:lnTo>
                  <a:lnTo>
                    <a:pt x="636" y="2470"/>
                  </a:lnTo>
                  <a:lnTo>
                    <a:pt x="627" y="2532"/>
                  </a:lnTo>
                  <a:lnTo>
                    <a:pt x="556" y="2549"/>
                  </a:lnTo>
                  <a:lnTo>
                    <a:pt x="547" y="2629"/>
                  </a:lnTo>
                  <a:lnTo>
                    <a:pt x="539" y="2708"/>
                  </a:lnTo>
                  <a:lnTo>
                    <a:pt x="609" y="2743"/>
                  </a:lnTo>
                  <a:lnTo>
                    <a:pt x="662" y="2805"/>
                  </a:lnTo>
                  <a:lnTo>
                    <a:pt x="697" y="2858"/>
                  </a:lnTo>
                  <a:lnTo>
                    <a:pt x="697" y="2920"/>
                  </a:lnTo>
                  <a:lnTo>
                    <a:pt x="733" y="2973"/>
                  </a:lnTo>
                  <a:lnTo>
                    <a:pt x="750" y="3035"/>
                  </a:lnTo>
                  <a:lnTo>
                    <a:pt x="812" y="3096"/>
                  </a:lnTo>
                  <a:lnTo>
                    <a:pt x="803" y="3176"/>
                  </a:lnTo>
                  <a:lnTo>
                    <a:pt x="750" y="3246"/>
                  </a:lnTo>
                  <a:lnTo>
                    <a:pt x="697" y="3317"/>
                  </a:lnTo>
                  <a:lnTo>
                    <a:pt x="662" y="3361"/>
                  </a:lnTo>
                  <a:lnTo>
                    <a:pt x="583" y="3352"/>
                  </a:lnTo>
                  <a:lnTo>
                    <a:pt x="512" y="3317"/>
                  </a:lnTo>
                  <a:lnTo>
                    <a:pt x="503" y="3379"/>
                  </a:lnTo>
                  <a:lnTo>
                    <a:pt x="468" y="3441"/>
                  </a:lnTo>
                  <a:lnTo>
                    <a:pt x="521" y="3458"/>
                  </a:lnTo>
                  <a:lnTo>
                    <a:pt x="618" y="3485"/>
                  </a:lnTo>
                  <a:lnTo>
                    <a:pt x="618" y="3546"/>
                  </a:lnTo>
                  <a:lnTo>
                    <a:pt x="653" y="3608"/>
                  </a:lnTo>
                  <a:lnTo>
                    <a:pt x="653" y="3679"/>
                  </a:lnTo>
                  <a:lnTo>
                    <a:pt x="653" y="3749"/>
                  </a:lnTo>
                  <a:lnTo>
                    <a:pt x="689" y="3820"/>
                  </a:lnTo>
                  <a:lnTo>
                    <a:pt x="680" y="3917"/>
                  </a:lnTo>
                  <a:lnTo>
                    <a:pt x="715" y="3979"/>
                  </a:lnTo>
                  <a:lnTo>
                    <a:pt x="689" y="4049"/>
                  </a:lnTo>
                  <a:lnTo>
                    <a:pt x="750" y="4146"/>
                  </a:lnTo>
                  <a:lnTo>
                    <a:pt x="733" y="4226"/>
                  </a:lnTo>
                  <a:lnTo>
                    <a:pt x="777" y="4279"/>
                  </a:lnTo>
                  <a:lnTo>
                    <a:pt x="777" y="4367"/>
                  </a:lnTo>
                  <a:lnTo>
                    <a:pt x="777" y="4464"/>
                  </a:lnTo>
                  <a:lnTo>
                    <a:pt x="777" y="4552"/>
                  </a:lnTo>
                  <a:lnTo>
                    <a:pt x="768" y="4614"/>
                  </a:lnTo>
                  <a:lnTo>
                    <a:pt x="715" y="4685"/>
                  </a:lnTo>
                  <a:lnTo>
                    <a:pt x="653" y="4746"/>
                  </a:lnTo>
                  <a:lnTo>
                    <a:pt x="556" y="4799"/>
                  </a:lnTo>
                  <a:lnTo>
                    <a:pt x="539" y="4861"/>
                  </a:lnTo>
                  <a:lnTo>
                    <a:pt x="636" y="4861"/>
                  </a:lnTo>
                  <a:lnTo>
                    <a:pt x="547" y="4914"/>
                  </a:lnTo>
                  <a:lnTo>
                    <a:pt x="556" y="4958"/>
                  </a:lnTo>
                  <a:lnTo>
                    <a:pt x="645" y="4923"/>
                  </a:lnTo>
                  <a:lnTo>
                    <a:pt x="715" y="4949"/>
                  </a:lnTo>
                  <a:lnTo>
                    <a:pt x="768" y="4870"/>
                  </a:lnTo>
                  <a:lnTo>
                    <a:pt x="795" y="4905"/>
                  </a:lnTo>
                  <a:lnTo>
                    <a:pt x="839" y="4852"/>
                  </a:lnTo>
                  <a:lnTo>
                    <a:pt x="927" y="4852"/>
                  </a:lnTo>
                  <a:lnTo>
                    <a:pt x="998" y="4879"/>
                  </a:lnTo>
                  <a:lnTo>
                    <a:pt x="1086" y="4932"/>
                  </a:lnTo>
                  <a:lnTo>
                    <a:pt x="1130" y="4967"/>
                  </a:lnTo>
                  <a:lnTo>
                    <a:pt x="1245" y="4941"/>
                  </a:lnTo>
                  <a:lnTo>
                    <a:pt x="1333" y="5011"/>
                  </a:lnTo>
                  <a:lnTo>
                    <a:pt x="1403" y="5055"/>
                  </a:lnTo>
                  <a:lnTo>
                    <a:pt x="1509" y="5091"/>
                  </a:lnTo>
                  <a:lnTo>
                    <a:pt x="1553" y="5029"/>
                  </a:lnTo>
                  <a:lnTo>
                    <a:pt x="1686" y="5029"/>
                  </a:lnTo>
                  <a:lnTo>
                    <a:pt x="1721" y="4949"/>
                  </a:lnTo>
                  <a:lnTo>
                    <a:pt x="1783" y="4923"/>
                  </a:lnTo>
                  <a:lnTo>
                    <a:pt x="1845" y="4905"/>
                  </a:lnTo>
                  <a:lnTo>
                    <a:pt x="1827" y="4835"/>
                  </a:lnTo>
                  <a:lnTo>
                    <a:pt x="1739" y="4799"/>
                  </a:lnTo>
                  <a:lnTo>
                    <a:pt x="1721" y="4746"/>
                  </a:lnTo>
                  <a:lnTo>
                    <a:pt x="1686" y="4676"/>
                  </a:lnTo>
                  <a:lnTo>
                    <a:pt x="1668" y="4579"/>
                  </a:lnTo>
                  <a:lnTo>
                    <a:pt x="1739" y="4579"/>
                  </a:lnTo>
                  <a:lnTo>
                    <a:pt x="1756" y="4508"/>
                  </a:lnTo>
                  <a:lnTo>
                    <a:pt x="1845" y="4341"/>
                  </a:lnTo>
                  <a:lnTo>
                    <a:pt x="1906" y="4235"/>
                  </a:lnTo>
                  <a:lnTo>
                    <a:pt x="1933" y="4191"/>
                  </a:lnTo>
                  <a:lnTo>
                    <a:pt x="2012" y="4164"/>
                  </a:lnTo>
                  <a:lnTo>
                    <a:pt x="2092" y="4076"/>
                  </a:lnTo>
                  <a:lnTo>
                    <a:pt x="2154" y="3996"/>
                  </a:lnTo>
                  <a:lnTo>
                    <a:pt x="2136" y="3944"/>
                  </a:lnTo>
                  <a:lnTo>
                    <a:pt x="2065" y="3899"/>
                  </a:lnTo>
                  <a:lnTo>
                    <a:pt x="2057" y="3829"/>
                  </a:lnTo>
                  <a:lnTo>
                    <a:pt x="2012" y="3758"/>
                  </a:lnTo>
                  <a:lnTo>
                    <a:pt x="1959" y="3714"/>
                  </a:lnTo>
                  <a:lnTo>
                    <a:pt x="1915" y="3644"/>
                  </a:lnTo>
                  <a:lnTo>
                    <a:pt x="1995" y="3599"/>
                  </a:lnTo>
                  <a:lnTo>
                    <a:pt x="2039" y="3538"/>
                  </a:lnTo>
                  <a:lnTo>
                    <a:pt x="2092" y="3485"/>
                  </a:lnTo>
                  <a:lnTo>
                    <a:pt x="2145" y="3485"/>
                  </a:lnTo>
                  <a:lnTo>
                    <a:pt x="2198" y="3432"/>
                  </a:lnTo>
                  <a:lnTo>
                    <a:pt x="2304" y="3432"/>
                  </a:lnTo>
                  <a:lnTo>
                    <a:pt x="2277" y="3352"/>
                  </a:lnTo>
                </a:path>
              </a:pathLst>
            </a:custGeom>
            <a:solidFill>
              <a:srgbClr val="003399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77" name="Freeform 17"/>
            <p:cNvSpPr>
              <a:spLocks noChangeArrowheads="1"/>
            </p:cNvSpPr>
            <p:nvPr/>
          </p:nvSpPr>
          <p:spPr bwMode="auto">
            <a:xfrm>
              <a:off x="2506740" y="3710284"/>
              <a:ext cx="323683" cy="273181"/>
            </a:xfrm>
            <a:custGeom>
              <a:avLst/>
              <a:gdLst/>
              <a:ahLst/>
              <a:cxnLst>
                <a:cxn ang="0">
                  <a:pos x="221" y="592"/>
                </a:cxn>
                <a:cxn ang="0">
                  <a:pos x="150" y="547"/>
                </a:cxn>
                <a:cxn ang="0">
                  <a:pos x="142" y="477"/>
                </a:cxn>
                <a:cxn ang="0">
                  <a:pos x="97" y="406"/>
                </a:cxn>
                <a:cxn ang="0">
                  <a:pos x="44" y="362"/>
                </a:cxn>
                <a:cxn ang="0">
                  <a:pos x="0" y="292"/>
                </a:cxn>
                <a:cxn ang="0">
                  <a:pos x="80" y="247"/>
                </a:cxn>
                <a:cxn ang="0">
                  <a:pos x="124" y="186"/>
                </a:cxn>
                <a:cxn ang="0">
                  <a:pos x="177" y="133"/>
                </a:cxn>
                <a:cxn ang="0">
                  <a:pos x="230" y="133"/>
                </a:cxn>
                <a:cxn ang="0">
                  <a:pos x="283" y="80"/>
                </a:cxn>
                <a:cxn ang="0">
                  <a:pos x="389" y="80"/>
                </a:cxn>
                <a:cxn ang="0">
                  <a:pos x="362" y="0"/>
                </a:cxn>
                <a:cxn ang="0">
                  <a:pos x="433" y="36"/>
                </a:cxn>
                <a:cxn ang="0">
                  <a:pos x="539" y="36"/>
                </a:cxn>
                <a:cxn ang="0">
                  <a:pos x="574" y="106"/>
                </a:cxn>
                <a:cxn ang="0">
                  <a:pos x="539" y="159"/>
                </a:cxn>
                <a:cxn ang="0">
                  <a:pos x="600" y="168"/>
                </a:cxn>
                <a:cxn ang="0">
                  <a:pos x="662" y="133"/>
                </a:cxn>
                <a:cxn ang="0">
                  <a:pos x="733" y="150"/>
                </a:cxn>
                <a:cxn ang="0">
                  <a:pos x="733" y="203"/>
                </a:cxn>
                <a:cxn ang="0">
                  <a:pos x="627" y="256"/>
                </a:cxn>
                <a:cxn ang="0">
                  <a:pos x="618" y="309"/>
                </a:cxn>
                <a:cxn ang="0">
                  <a:pos x="618" y="362"/>
                </a:cxn>
                <a:cxn ang="0">
                  <a:pos x="600" y="433"/>
                </a:cxn>
                <a:cxn ang="0">
                  <a:pos x="600" y="503"/>
                </a:cxn>
                <a:cxn ang="0">
                  <a:pos x="671" y="512"/>
                </a:cxn>
                <a:cxn ang="0">
                  <a:pos x="724" y="530"/>
                </a:cxn>
                <a:cxn ang="0">
                  <a:pos x="742" y="592"/>
                </a:cxn>
                <a:cxn ang="0">
                  <a:pos x="777" y="636"/>
                </a:cxn>
                <a:cxn ang="0">
                  <a:pos x="900" y="618"/>
                </a:cxn>
                <a:cxn ang="0">
                  <a:pos x="980" y="618"/>
                </a:cxn>
                <a:cxn ang="0">
                  <a:pos x="1006" y="653"/>
                </a:cxn>
                <a:cxn ang="0">
                  <a:pos x="1086" y="662"/>
                </a:cxn>
                <a:cxn ang="0">
                  <a:pos x="1086" y="715"/>
                </a:cxn>
                <a:cxn ang="0">
                  <a:pos x="1165" y="750"/>
                </a:cxn>
                <a:cxn ang="0">
                  <a:pos x="1165" y="830"/>
                </a:cxn>
                <a:cxn ang="0">
                  <a:pos x="1139" y="874"/>
                </a:cxn>
                <a:cxn ang="0">
                  <a:pos x="1059" y="918"/>
                </a:cxn>
                <a:cxn ang="0">
                  <a:pos x="989" y="900"/>
                </a:cxn>
                <a:cxn ang="0">
                  <a:pos x="909" y="883"/>
                </a:cxn>
                <a:cxn ang="0">
                  <a:pos x="821" y="892"/>
                </a:cxn>
                <a:cxn ang="0">
                  <a:pos x="750" y="900"/>
                </a:cxn>
                <a:cxn ang="0">
                  <a:pos x="768" y="936"/>
                </a:cxn>
                <a:cxn ang="0">
                  <a:pos x="680" y="971"/>
                </a:cxn>
                <a:cxn ang="0">
                  <a:pos x="653" y="883"/>
                </a:cxn>
                <a:cxn ang="0">
                  <a:pos x="592" y="865"/>
                </a:cxn>
                <a:cxn ang="0">
                  <a:pos x="539" y="856"/>
                </a:cxn>
                <a:cxn ang="0">
                  <a:pos x="486" y="812"/>
                </a:cxn>
                <a:cxn ang="0">
                  <a:pos x="512" y="715"/>
                </a:cxn>
                <a:cxn ang="0">
                  <a:pos x="424" y="715"/>
                </a:cxn>
                <a:cxn ang="0">
                  <a:pos x="406" y="680"/>
                </a:cxn>
                <a:cxn ang="0">
                  <a:pos x="353" y="618"/>
                </a:cxn>
                <a:cxn ang="0">
                  <a:pos x="283" y="583"/>
                </a:cxn>
                <a:cxn ang="0">
                  <a:pos x="221" y="592"/>
                </a:cxn>
              </a:cxnLst>
              <a:rect l="0" t="0" r="r" b="b"/>
              <a:pathLst>
                <a:path w="1166" h="972">
                  <a:moveTo>
                    <a:pt x="221" y="592"/>
                  </a:moveTo>
                  <a:lnTo>
                    <a:pt x="150" y="547"/>
                  </a:lnTo>
                  <a:lnTo>
                    <a:pt x="142" y="477"/>
                  </a:lnTo>
                  <a:lnTo>
                    <a:pt x="97" y="406"/>
                  </a:lnTo>
                  <a:lnTo>
                    <a:pt x="44" y="362"/>
                  </a:lnTo>
                  <a:lnTo>
                    <a:pt x="0" y="292"/>
                  </a:lnTo>
                  <a:lnTo>
                    <a:pt x="80" y="247"/>
                  </a:lnTo>
                  <a:lnTo>
                    <a:pt x="124" y="186"/>
                  </a:lnTo>
                  <a:lnTo>
                    <a:pt x="177" y="133"/>
                  </a:lnTo>
                  <a:lnTo>
                    <a:pt x="230" y="133"/>
                  </a:lnTo>
                  <a:lnTo>
                    <a:pt x="283" y="80"/>
                  </a:lnTo>
                  <a:lnTo>
                    <a:pt x="389" y="80"/>
                  </a:lnTo>
                  <a:lnTo>
                    <a:pt x="362" y="0"/>
                  </a:lnTo>
                  <a:lnTo>
                    <a:pt x="433" y="36"/>
                  </a:lnTo>
                  <a:lnTo>
                    <a:pt x="539" y="36"/>
                  </a:lnTo>
                  <a:lnTo>
                    <a:pt x="574" y="106"/>
                  </a:lnTo>
                  <a:lnTo>
                    <a:pt x="539" y="159"/>
                  </a:lnTo>
                  <a:lnTo>
                    <a:pt x="600" y="168"/>
                  </a:lnTo>
                  <a:lnTo>
                    <a:pt x="662" y="133"/>
                  </a:lnTo>
                  <a:lnTo>
                    <a:pt x="733" y="150"/>
                  </a:lnTo>
                  <a:lnTo>
                    <a:pt x="733" y="203"/>
                  </a:lnTo>
                  <a:lnTo>
                    <a:pt x="627" y="256"/>
                  </a:lnTo>
                  <a:lnTo>
                    <a:pt x="618" y="309"/>
                  </a:lnTo>
                  <a:lnTo>
                    <a:pt x="618" y="362"/>
                  </a:lnTo>
                  <a:lnTo>
                    <a:pt x="600" y="433"/>
                  </a:lnTo>
                  <a:lnTo>
                    <a:pt x="600" y="503"/>
                  </a:lnTo>
                  <a:lnTo>
                    <a:pt x="671" y="512"/>
                  </a:lnTo>
                  <a:lnTo>
                    <a:pt x="724" y="530"/>
                  </a:lnTo>
                  <a:lnTo>
                    <a:pt x="742" y="592"/>
                  </a:lnTo>
                  <a:lnTo>
                    <a:pt x="777" y="636"/>
                  </a:lnTo>
                  <a:lnTo>
                    <a:pt x="900" y="618"/>
                  </a:lnTo>
                  <a:lnTo>
                    <a:pt x="980" y="618"/>
                  </a:lnTo>
                  <a:lnTo>
                    <a:pt x="1006" y="653"/>
                  </a:lnTo>
                  <a:lnTo>
                    <a:pt x="1086" y="662"/>
                  </a:lnTo>
                  <a:lnTo>
                    <a:pt x="1086" y="715"/>
                  </a:lnTo>
                  <a:lnTo>
                    <a:pt x="1165" y="750"/>
                  </a:lnTo>
                  <a:lnTo>
                    <a:pt x="1165" y="830"/>
                  </a:lnTo>
                  <a:lnTo>
                    <a:pt x="1139" y="874"/>
                  </a:lnTo>
                  <a:lnTo>
                    <a:pt x="1059" y="918"/>
                  </a:lnTo>
                  <a:lnTo>
                    <a:pt x="989" y="900"/>
                  </a:lnTo>
                  <a:lnTo>
                    <a:pt x="909" y="883"/>
                  </a:lnTo>
                  <a:lnTo>
                    <a:pt x="821" y="892"/>
                  </a:lnTo>
                  <a:lnTo>
                    <a:pt x="750" y="900"/>
                  </a:lnTo>
                  <a:lnTo>
                    <a:pt x="768" y="936"/>
                  </a:lnTo>
                  <a:lnTo>
                    <a:pt x="680" y="971"/>
                  </a:lnTo>
                  <a:lnTo>
                    <a:pt x="653" y="883"/>
                  </a:lnTo>
                  <a:lnTo>
                    <a:pt x="592" y="865"/>
                  </a:lnTo>
                  <a:lnTo>
                    <a:pt x="539" y="856"/>
                  </a:lnTo>
                  <a:lnTo>
                    <a:pt x="486" y="812"/>
                  </a:lnTo>
                  <a:lnTo>
                    <a:pt x="512" y="715"/>
                  </a:lnTo>
                  <a:lnTo>
                    <a:pt x="424" y="715"/>
                  </a:lnTo>
                  <a:lnTo>
                    <a:pt x="406" y="680"/>
                  </a:lnTo>
                  <a:lnTo>
                    <a:pt x="353" y="618"/>
                  </a:lnTo>
                  <a:lnTo>
                    <a:pt x="283" y="583"/>
                  </a:lnTo>
                  <a:lnTo>
                    <a:pt x="221" y="592"/>
                  </a:lnTo>
                </a:path>
              </a:pathLst>
            </a:custGeom>
            <a:solidFill>
              <a:srgbClr val="003399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3" name="77 Grupo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962150" y="2161952"/>
            <a:ext cx="2716213" cy="3197225"/>
            <a:chOff x="3007726" y="2506328"/>
            <a:chExt cx="2716402" cy="3197979"/>
          </a:xfrm>
        </p:grpSpPr>
        <p:sp>
          <p:nvSpPr>
            <p:cNvPr id="79" name="Freeform 5"/>
            <p:cNvSpPr>
              <a:spLocks noChangeArrowheads="1"/>
            </p:cNvSpPr>
            <p:nvPr/>
          </p:nvSpPr>
          <p:spPr bwMode="auto">
            <a:xfrm>
              <a:off x="3803119" y="3162121"/>
              <a:ext cx="984318" cy="336629"/>
            </a:xfrm>
            <a:custGeom>
              <a:avLst/>
              <a:gdLst/>
              <a:ahLst/>
              <a:cxnLst>
                <a:cxn ang="0">
                  <a:pos x="17" y="944"/>
                </a:cxn>
                <a:cxn ang="0">
                  <a:pos x="194" y="803"/>
                </a:cxn>
                <a:cxn ang="0">
                  <a:pos x="326" y="662"/>
                </a:cxn>
                <a:cxn ang="0">
                  <a:pos x="520" y="115"/>
                </a:cxn>
                <a:cxn ang="0">
                  <a:pos x="679" y="80"/>
                </a:cxn>
                <a:cxn ang="0">
                  <a:pos x="821" y="106"/>
                </a:cxn>
                <a:cxn ang="0">
                  <a:pos x="962" y="115"/>
                </a:cxn>
                <a:cxn ang="0">
                  <a:pos x="1165" y="106"/>
                </a:cxn>
                <a:cxn ang="0">
                  <a:pos x="1306" y="97"/>
                </a:cxn>
                <a:cxn ang="0">
                  <a:pos x="1474" y="97"/>
                </a:cxn>
                <a:cxn ang="0">
                  <a:pos x="1615" y="150"/>
                </a:cxn>
                <a:cxn ang="0">
                  <a:pos x="1738" y="97"/>
                </a:cxn>
                <a:cxn ang="0">
                  <a:pos x="1853" y="44"/>
                </a:cxn>
                <a:cxn ang="0">
                  <a:pos x="1994" y="71"/>
                </a:cxn>
                <a:cxn ang="0">
                  <a:pos x="2082" y="44"/>
                </a:cxn>
                <a:cxn ang="0">
                  <a:pos x="2215" y="80"/>
                </a:cxn>
                <a:cxn ang="0">
                  <a:pos x="2374" y="115"/>
                </a:cxn>
                <a:cxn ang="0">
                  <a:pos x="2515" y="159"/>
                </a:cxn>
                <a:cxn ang="0">
                  <a:pos x="2691" y="124"/>
                </a:cxn>
                <a:cxn ang="0">
                  <a:pos x="3494" y="1112"/>
                </a:cxn>
                <a:cxn ang="0">
                  <a:pos x="3389" y="1156"/>
                </a:cxn>
                <a:cxn ang="0">
                  <a:pos x="3177" y="1156"/>
                </a:cxn>
                <a:cxn ang="0">
                  <a:pos x="3009" y="1121"/>
                </a:cxn>
                <a:cxn ang="0">
                  <a:pos x="2912" y="1041"/>
                </a:cxn>
                <a:cxn ang="0">
                  <a:pos x="2806" y="988"/>
                </a:cxn>
                <a:cxn ang="0">
                  <a:pos x="2638" y="891"/>
                </a:cxn>
                <a:cxn ang="0">
                  <a:pos x="2418" y="856"/>
                </a:cxn>
                <a:cxn ang="0">
                  <a:pos x="2232" y="971"/>
                </a:cxn>
                <a:cxn ang="0">
                  <a:pos x="2065" y="980"/>
                </a:cxn>
                <a:cxn ang="0">
                  <a:pos x="1809" y="971"/>
                </a:cxn>
                <a:cxn ang="0">
                  <a:pos x="1615" y="935"/>
                </a:cxn>
                <a:cxn ang="0">
                  <a:pos x="1429" y="909"/>
                </a:cxn>
                <a:cxn ang="0">
                  <a:pos x="1262" y="988"/>
                </a:cxn>
                <a:cxn ang="0">
                  <a:pos x="1112" y="1024"/>
                </a:cxn>
                <a:cxn ang="0">
                  <a:pos x="935" y="997"/>
                </a:cxn>
                <a:cxn ang="0">
                  <a:pos x="759" y="1032"/>
                </a:cxn>
                <a:cxn ang="0">
                  <a:pos x="653" y="1077"/>
                </a:cxn>
                <a:cxn ang="0">
                  <a:pos x="468" y="1103"/>
                </a:cxn>
                <a:cxn ang="0">
                  <a:pos x="300" y="1191"/>
                </a:cxn>
                <a:cxn ang="0">
                  <a:pos x="203" y="1156"/>
                </a:cxn>
                <a:cxn ang="0">
                  <a:pos x="150" y="1041"/>
                </a:cxn>
                <a:cxn ang="0">
                  <a:pos x="0" y="1032"/>
                </a:cxn>
              </a:cxnLst>
              <a:rect l="0" t="0" r="r" b="b"/>
              <a:pathLst>
                <a:path w="3531" h="1192">
                  <a:moveTo>
                    <a:pt x="0" y="1032"/>
                  </a:moveTo>
                  <a:lnTo>
                    <a:pt x="17" y="944"/>
                  </a:lnTo>
                  <a:lnTo>
                    <a:pt x="88" y="874"/>
                  </a:lnTo>
                  <a:lnTo>
                    <a:pt x="194" y="803"/>
                  </a:lnTo>
                  <a:lnTo>
                    <a:pt x="282" y="741"/>
                  </a:lnTo>
                  <a:lnTo>
                    <a:pt x="326" y="662"/>
                  </a:lnTo>
                  <a:lnTo>
                    <a:pt x="318" y="574"/>
                  </a:lnTo>
                  <a:lnTo>
                    <a:pt x="520" y="115"/>
                  </a:lnTo>
                  <a:lnTo>
                    <a:pt x="635" y="124"/>
                  </a:lnTo>
                  <a:lnTo>
                    <a:pt x="679" y="80"/>
                  </a:lnTo>
                  <a:lnTo>
                    <a:pt x="750" y="53"/>
                  </a:lnTo>
                  <a:lnTo>
                    <a:pt x="821" y="106"/>
                  </a:lnTo>
                  <a:lnTo>
                    <a:pt x="900" y="71"/>
                  </a:lnTo>
                  <a:lnTo>
                    <a:pt x="962" y="115"/>
                  </a:lnTo>
                  <a:lnTo>
                    <a:pt x="1068" y="71"/>
                  </a:lnTo>
                  <a:lnTo>
                    <a:pt x="1165" y="106"/>
                  </a:lnTo>
                  <a:lnTo>
                    <a:pt x="1235" y="124"/>
                  </a:lnTo>
                  <a:lnTo>
                    <a:pt x="1306" y="97"/>
                  </a:lnTo>
                  <a:lnTo>
                    <a:pt x="1368" y="115"/>
                  </a:lnTo>
                  <a:lnTo>
                    <a:pt x="1474" y="97"/>
                  </a:lnTo>
                  <a:lnTo>
                    <a:pt x="1535" y="132"/>
                  </a:lnTo>
                  <a:lnTo>
                    <a:pt x="1615" y="150"/>
                  </a:lnTo>
                  <a:lnTo>
                    <a:pt x="1677" y="115"/>
                  </a:lnTo>
                  <a:lnTo>
                    <a:pt x="1738" y="97"/>
                  </a:lnTo>
                  <a:lnTo>
                    <a:pt x="1791" y="71"/>
                  </a:lnTo>
                  <a:lnTo>
                    <a:pt x="1853" y="44"/>
                  </a:lnTo>
                  <a:lnTo>
                    <a:pt x="1941" y="27"/>
                  </a:lnTo>
                  <a:lnTo>
                    <a:pt x="1994" y="71"/>
                  </a:lnTo>
                  <a:lnTo>
                    <a:pt x="2012" y="0"/>
                  </a:lnTo>
                  <a:lnTo>
                    <a:pt x="2082" y="44"/>
                  </a:lnTo>
                  <a:lnTo>
                    <a:pt x="2162" y="27"/>
                  </a:lnTo>
                  <a:lnTo>
                    <a:pt x="2215" y="80"/>
                  </a:lnTo>
                  <a:lnTo>
                    <a:pt x="2277" y="97"/>
                  </a:lnTo>
                  <a:lnTo>
                    <a:pt x="2374" y="115"/>
                  </a:lnTo>
                  <a:lnTo>
                    <a:pt x="2444" y="168"/>
                  </a:lnTo>
                  <a:lnTo>
                    <a:pt x="2515" y="159"/>
                  </a:lnTo>
                  <a:lnTo>
                    <a:pt x="2568" y="124"/>
                  </a:lnTo>
                  <a:lnTo>
                    <a:pt x="2691" y="124"/>
                  </a:lnTo>
                  <a:lnTo>
                    <a:pt x="3530" y="1032"/>
                  </a:lnTo>
                  <a:lnTo>
                    <a:pt x="3494" y="1112"/>
                  </a:lnTo>
                  <a:lnTo>
                    <a:pt x="3424" y="1112"/>
                  </a:lnTo>
                  <a:lnTo>
                    <a:pt x="3389" y="1156"/>
                  </a:lnTo>
                  <a:lnTo>
                    <a:pt x="3274" y="1147"/>
                  </a:lnTo>
                  <a:lnTo>
                    <a:pt x="3177" y="1156"/>
                  </a:lnTo>
                  <a:lnTo>
                    <a:pt x="3106" y="1121"/>
                  </a:lnTo>
                  <a:lnTo>
                    <a:pt x="3009" y="1121"/>
                  </a:lnTo>
                  <a:lnTo>
                    <a:pt x="2983" y="1077"/>
                  </a:lnTo>
                  <a:lnTo>
                    <a:pt x="2912" y="1041"/>
                  </a:lnTo>
                  <a:lnTo>
                    <a:pt x="2841" y="1041"/>
                  </a:lnTo>
                  <a:lnTo>
                    <a:pt x="2806" y="988"/>
                  </a:lnTo>
                  <a:lnTo>
                    <a:pt x="2753" y="935"/>
                  </a:lnTo>
                  <a:lnTo>
                    <a:pt x="2638" y="891"/>
                  </a:lnTo>
                  <a:lnTo>
                    <a:pt x="2550" y="900"/>
                  </a:lnTo>
                  <a:lnTo>
                    <a:pt x="2418" y="856"/>
                  </a:lnTo>
                  <a:lnTo>
                    <a:pt x="2330" y="900"/>
                  </a:lnTo>
                  <a:lnTo>
                    <a:pt x="2232" y="971"/>
                  </a:lnTo>
                  <a:lnTo>
                    <a:pt x="2144" y="944"/>
                  </a:lnTo>
                  <a:lnTo>
                    <a:pt x="2065" y="980"/>
                  </a:lnTo>
                  <a:lnTo>
                    <a:pt x="1941" y="953"/>
                  </a:lnTo>
                  <a:lnTo>
                    <a:pt x="1809" y="971"/>
                  </a:lnTo>
                  <a:lnTo>
                    <a:pt x="1712" y="953"/>
                  </a:lnTo>
                  <a:lnTo>
                    <a:pt x="1615" y="935"/>
                  </a:lnTo>
                  <a:lnTo>
                    <a:pt x="1535" y="971"/>
                  </a:lnTo>
                  <a:lnTo>
                    <a:pt x="1429" y="909"/>
                  </a:lnTo>
                  <a:lnTo>
                    <a:pt x="1350" y="953"/>
                  </a:lnTo>
                  <a:lnTo>
                    <a:pt x="1262" y="988"/>
                  </a:lnTo>
                  <a:lnTo>
                    <a:pt x="1174" y="980"/>
                  </a:lnTo>
                  <a:lnTo>
                    <a:pt x="1112" y="1024"/>
                  </a:lnTo>
                  <a:lnTo>
                    <a:pt x="997" y="1024"/>
                  </a:lnTo>
                  <a:lnTo>
                    <a:pt x="935" y="997"/>
                  </a:lnTo>
                  <a:lnTo>
                    <a:pt x="829" y="997"/>
                  </a:lnTo>
                  <a:lnTo>
                    <a:pt x="759" y="1032"/>
                  </a:lnTo>
                  <a:lnTo>
                    <a:pt x="679" y="1032"/>
                  </a:lnTo>
                  <a:lnTo>
                    <a:pt x="653" y="1077"/>
                  </a:lnTo>
                  <a:lnTo>
                    <a:pt x="538" y="1077"/>
                  </a:lnTo>
                  <a:lnTo>
                    <a:pt x="468" y="1103"/>
                  </a:lnTo>
                  <a:lnTo>
                    <a:pt x="379" y="1147"/>
                  </a:lnTo>
                  <a:lnTo>
                    <a:pt x="300" y="1191"/>
                  </a:lnTo>
                  <a:lnTo>
                    <a:pt x="256" y="1147"/>
                  </a:lnTo>
                  <a:lnTo>
                    <a:pt x="203" y="1156"/>
                  </a:lnTo>
                  <a:lnTo>
                    <a:pt x="167" y="1103"/>
                  </a:lnTo>
                  <a:lnTo>
                    <a:pt x="150" y="1041"/>
                  </a:lnTo>
                  <a:lnTo>
                    <a:pt x="88" y="1024"/>
                  </a:lnTo>
                  <a:lnTo>
                    <a:pt x="0" y="1032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0" name="Freeform 6"/>
            <p:cNvSpPr>
              <a:spLocks noChangeArrowheads="1"/>
            </p:cNvSpPr>
            <p:nvPr/>
          </p:nvSpPr>
          <p:spPr bwMode="auto">
            <a:xfrm>
              <a:off x="4361958" y="4060858"/>
              <a:ext cx="1362170" cy="889210"/>
            </a:xfrm>
            <a:custGeom>
              <a:avLst/>
              <a:gdLst/>
              <a:ahLst/>
              <a:cxnLst>
                <a:cxn ang="0">
                  <a:pos x="3777" y="177"/>
                </a:cxn>
                <a:cxn ang="0">
                  <a:pos x="3918" y="265"/>
                </a:cxn>
                <a:cxn ang="0">
                  <a:pos x="3989" y="495"/>
                </a:cxn>
                <a:cxn ang="0">
                  <a:pos x="4139" y="636"/>
                </a:cxn>
                <a:cxn ang="0">
                  <a:pos x="3980" y="803"/>
                </a:cxn>
                <a:cxn ang="0">
                  <a:pos x="3601" y="1289"/>
                </a:cxn>
                <a:cxn ang="0">
                  <a:pos x="3821" y="1324"/>
                </a:cxn>
                <a:cxn ang="0">
                  <a:pos x="3962" y="1448"/>
                </a:cxn>
                <a:cxn ang="0">
                  <a:pos x="4112" y="1598"/>
                </a:cxn>
                <a:cxn ang="0">
                  <a:pos x="4315" y="1748"/>
                </a:cxn>
                <a:cxn ang="0">
                  <a:pos x="4386" y="1977"/>
                </a:cxn>
                <a:cxn ang="0">
                  <a:pos x="4518" y="2109"/>
                </a:cxn>
                <a:cxn ang="0">
                  <a:pos x="4571" y="2356"/>
                </a:cxn>
                <a:cxn ang="0">
                  <a:pos x="4695" y="2533"/>
                </a:cxn>
                <a:cxn ang="0">
                  <a:pos x="4748" y="2727"/>
                </a:cxn>
                <a:cxn ang="0">
                  <a:pos x="4889" y="2956"/>
                </a:cxn>
                <a:cxn ang="0">
                  <a:pos x="4704" y="3151"/>
                </a:cxn>
                <a:cxn ang="0">
                  <a:pos x="4598" y="2903"/>
                </a:cxn>
                <a:cxn ang="0">
                  <a:pos x="4430" y="2480"/>
                </a:cxn>
                <a:cxn ang="0">
                  <a:pos x="4174" y="2109"/>
                </a:cxn>
                <a:cxn ang="0">
                  <a:pos x="3795" y="2242"/>
                </a:cxn>
                <a:cxn ang="0">
                  <a:pos x="3539" y="2551"/>
                </a:cxn>
                <a:cxn ang="0">
                  <a:pos x="3389" y="2471"/>
                </a:cxn>
                <a:cxn ang="0">
                  <a:pos x="3177" y="2445"/>
                </a:cxn>
                <a:cxn ang="0">
                  <a:pos x="3274" y="2630"/>
                </a:cxn>
                <a:cxn ang="0">
                  <a:pos x="1536" y="2639"/>
                </a:cxn>
                <a:cxn ang="0">
                  <a:pos x="1288" y="2727"/>
                </a:cxn>
                <a:cxn ang="0">
                  <a:pos x="1041" y="2683"/>
                </a:cxn>
                <a:cxn ang="0">
                  <a:pos x="821" y="2533"/>
                </a:cxn>
                <a:cxn ang="0">
                  <a:pos x="874" y="2321"/>
                </a:cxn>
                <a:cxn ang="0">
                  <a:pos x="997" y="2109"/>
                </a:cxn>
                <a:cxn ang="0">
                  <a:pos x="803" y="2153"/>
                </a:cxn>
                <a:cxn ang="0">
                  <a:pos x="459" y="2198"/>
                </a:cxn>
                <a:cxn ang="0">
                  <a:pos x="256" y="2021"/>
                </a:cxn>
                <a:cxn ang="0">
                  <a:pos x="53" y="1871"/>
                </a:cxn>
                <a:cxn ang="0">
                  <a:pos x="538" y="1509"/>
                </a:cxn>
                <a:cxn ang="0">
                  <a:pos x="662" y="1306"/>
                </a:cxn>
                <a:cxn ang="0">
                  <a:pos x="759" y="1112"/>
                </a:cxn>
                <a:cxn ang="0">
                  <a:pos x="785" y="971"/>
                </a:cxn>
                <a:cxn ang="0">
                  <a:pos x="1006" y="918"/>
                </a:cxn>
                <a:cxn ang="0">
                  <a:pos x="1138" y="812"/>
                </a:cxn>
                <a:cxn ang="0">
                  <a:pos x="1288" y="706"/>
                </a:cxn>
                <a:cxn ang="0">
                  <a:pos x="1456" y="627"/>
                </a:cxn>
                <a:cxn ang="0">
                  <a:pos x="1606" y="521"/>
                </a:cxn>
                <a:cxn ang="0">
                  <a:pos x="1871" y="565"/>
                </a:cxn>
                <a:cxn ang="0">
                  <a:pos x="2074" y="583"/>
                </a:cxn>
                <a:cxn ang="0">
                  <a:pos x="2321" y="477"/>
                </a:cxn>
                <a:cxn ang="0">
                  <a:pos x="2559" y="406"/>
                </a:cxn>
                <a:cxn ang="0">
                  <a:pos x="2912" y="292"/>
                </a:cxn>
                <a:cxn ang="0">
                  <a:pos x="3053" y="177"/>
                </a:cxn>
                <a:cxn ang="0">
                  <a:pos x="3301" y="177"/>
                </a:cxn>
                <a:cxn ang="0">
                  <a:pos x="3618" y="106"/>
                </a:cxn>
              </a:cxnLst>
              <a:rect l="0" t="0" r="r" b="b"/>
              <a:pathLst>
                <a:path w="4890" h="3152">
                  <a:moveTo>
                    <a:pt x="3698" y="0"/>
                  </a:moveTo>
                  <a:lnTo>
                    <a:pt x="3733" y="62"/>
                  </a:lnTo>
                  <a:lnTo>
                    <a:pt x="3733" y="124"/>
                  </a:lnTo>
                  <a:lnTo>
                    <a:pt x="3777" y="177"/>
                  </a:lnTo>
                  <a:lnTo>
                    <a:pt x="3830" y="212"/>
                  </a:lnTo>
                  <a:lnTo>
                    <a:pt x="3909" y="168"/>
                  </a:lnTo>
                  <a:lnTo>
                    <a:pt x="3954" y="239"/>
                  </a:lnTo>
                  <a:lnTo>
                    <a:pt x="3918" y="265"/>
                  </a:lnTo>
                  <a:lnTo>
                    <a:pt x="3927" y="345"/>
                  </a:lnTo>
                  <a:lnTo>
                    <a:pt x="3945" y="389"/>
                  </a:lnTo>
                  <a:lnTo>
                    <a:pt x="3989" y="406"/>
                  </a:lnTo>
                  <a:lnTo>
                    <a:pt x="3989" y="495"/>
                  </a:lnTo>
                  <a:lnTo>
                    <a:pt x="4042" y="521"/>
                  </a:lnTo>
                  <a:lnTo>
                    <a:pt x="4059" y="556"/>
                  </a:lnTo>
                  <a:lnTo>
                    <a:pt x="4130" y="583"/>
                  </a:lnTo>
                  <a:lnTo>
                    <a:pt x="4139" y="636"/>
                  </a:lnTo>
                  <a:lnTo>
                    <a:pt x="4112" y="689"/>
                  </a:lnTo>
                  <a:lnTo>
                    <a:pt x="4059" y="706"/>
                  </a:lnTo>
                  <a:lnTo>
                    <a:pt x="4042" y="768"/>
                  </a:lnTo>
                  <a:lnTo>
                    <a:pt x="3980" y="803"/>
                  </a:lnTo>
                  <a:lnTo>
                    <a:pt x="3909" y="821"/>
                  </a:lnTo>
                  <a:lnTo>
                    <a:pt x="3477" y="1271"/>
                  </a:lnTo>
                  <a:lnTo>
                    <a:pt x="3539" y="1306"/>
                  </a:lnTo>
                  <a:lnTo>
                    <a:pt x="3601" y="1289"/>
                  </a:lnTo>
                  <a:lnTo>
                    <a:pt x="3654" y="1333"/>
                  </a:lnTo>
                  <a:lnTo>
                    <a:pt x="3742" y="1289"/>
                  </a:lnTo>
                  <a:lnTo>
                    <a:pt x="3768" y="1324"/>
                  </a:lnTo>
                  <a:lnTo>
                    <a:pt x="3821" y="1324"/>
                  </a:lnTo>
                  <a:lnTo>
                    <a:pt x="3856" y="1368"/>
                  </a:lnTo>
                  <a:lnTo>
                    <a:pt x="3856" y="1456"/>
                  </a:lnTo>
                  <a:lnTo>
                    <a:pt x="3901" y="1492"/>
                  </a:lnTo>
                  <a:lnTo>
                    <a:pt x="3962" y="1448"/>
                  </a:lnTo>
                  <a:lnTo>
                    <a:pt x="3971" y="1501"/>
                  </a:lnTo>
                  <a:lnTo>
                    <a:pt x="4024" y="1536"/>
                  </a:lnTo>
                  <a:lnTo>
                    <a:pt x="4077" y="1536"/>
                  </a:lnTo>
                  <a:lnTo>
                    <a:pt x="4112" y="1598"/>
                  </a:lnTo>
                  <a:lnTo>
                    <a:pt x="4174" y="1642"/>
                  </a:lnTo>
                  <a:lnTo>
                    <a:pt x="4245" y="1677"/>
                  </a:lnTo>
                  <a:lnTo>
                    <a:pt x="4254" y="1721"/>
                  </a:lnTo>
                  <a:lnTo>
                    <a:pt x="4315" y="1748"/>
                  </a:lnTo>
                  <a:lnTo>
                    <a:pt x="4360" y="1818"/>
                  </a:lnTo>
                  <a:lnTo>
                    <a:pt x="4342" y="1871"/>
                  </a:lnTo>
                  <a:lnTo>
                    <a:pt x="4377" y="1924"/>
                  </a:lnTo>
                  <a:lnTo>
                    <a:pt x="4386" y="1977"/>
                  </a:lnTo>
                  <a:lnTo>
                    <a:pt x="4404" y="2048"/>
                  </a:lnTo>
                  <a:lnTo>
                    <a:pt x="4483" y="2003"/>
                  </a:lnTo>
                  <a:lnTo>
                    <a:pt x="4483" y="2065"/>
                  </a:lnTo>
                  <a:lnTo>
                    <a:pt x="4518" y="2109"/>
                  </a:lnTo>
                  <a:lnTo>
                    <a:pt x="4501" y="2180"/>
                  </a:lnTo>
                  <a:lnTo>
                    <a:pt x="4474" y="2233"/>
                  </a:lnTo>
                  <a:lnTo>
                    <a:pt x="4545" y="2312"/>
                  </a:lnTo>
                  <a:lnTo>
                    <a:pt x="4571" y="2356"/>
                  </a:lnTo>
                  <a:lnTo>
                    <a:pt x="4615" y="2383"/>
                  </a:lnTo>
                  <a:lnTo>
                    <a:pt x="4615" y="2436"/>
                  </a:lnTo>
                  <a:lnTo>
                    <a:pt x="4615" y="2498"/>
                  </a:lnTo>
                  <a:lnTo>
                    <a:pt x="4695" y="2533"/>
                  </a:lnTo>
                  <a:lnTo>
                    <a:pt x="4695" y="2577"/>
                  </a:lnTo>
                  <a:lnTo>
                    <a:pt x="4730" y="2603"/>
                  </a:lnTo>
                  <a:lnTo>
                    <a:pt x="4713" y="2665"/>
                  </a:lnTo>
                  <a:lnTo>
                    <a:pt x="4748" y="2727"/>
                  </a:lnTo>
                  <a:lnTo>
                    <a:pt x="4801" y="2780"/>
                  </a:lnTo>
                  <a:lnTo>
                    <a:pt x="4783" y="2886"/>
                  </a:lnTo>
                  <a:lnTo>
                    <a:pt x="4845" y="2912"/>
                  </a:lnTo>
                  <a:lnTo>
                    <a:pt x="4889" y="2956"/>
                  </a:lnTo>
                  <a:lnTo>
                    <a:pt x="4845" y="3027"/>
                  </a:lnTo>
                  <a:lnTo>
                    <a:pt x="4889" y="3133"/>
                  </a:lnTo>
                  <a:lnTo>
                    <a:pt x="4792" y="3124"/>
                  </a:lnTo>
                  <a:lnTo>
                    <a:pt x="4704" y="3151"/>
                  </a:lnTo>
                  <a:lnTo>
                    <a:pt x="4598" y="3142"/>
                  </a:lnTo>
                  <a:lnTo>
                    <a:pt x="4589" y="3080"/>
                  </a:lnTo>
                  <a:lnTo>
                    <a:pt x="4571" y="3001"/>
                  </a:lnTo>
                  <a:lnTo>
                    <a:pt x="4598" y="2903"/>
                  </a:lnTo>
                  <a:lnTo>
                    <a:pt x="4562" y="2780"/>
                  </a:lnTo>
                  <a:lnTo>
                    <a:pt x="4483" y="2692"/>
                  </a:lnTo>
                  <a:lnTo>
                    <a:pt x="4474" y="2595"/>
                  </a:lnTo>
                  <a:lnTo>
                    <a:pt x="4430" y="2480"/>
                  </a:lnTo>
                  <a:lnTo>
                    <a:pt x="4324" y="2418"/>
                  </a:lnTo>
                  <a:lnTo>
                    <a:pt x="4271" y="2330"/>
                  </a:lnTo>
                  <a:lnTo>
                    <a:pt x="4227" y="2198"/>
                  </a:lnTo>
                  <a:lnTo>
                    <a:pt x="4174" y="2109"/>
                  </a:lnTo>
                  <a:lnTo>
                    <a:pt x="4086" y="2065"/>
                  </a:lnTo>
                  <a:lnTo>
                    <a:pt x="3980" y="2083"/>
                  </a:lnTo>
                  <a:lnTo>
                    <a:pt x="3892" y="2171"/>
                  </a:lnTo>
                  <a:lnTo>
                    <a:pt x="3795" y="2242"/>
                  </a:lnTo>
                  <a:lnTo>
                    <a:pt x="3671" y="2401"/>
                  </a:lnTo>
                  <a:lnTo>
                    <a:pt x="3592" y="2418"/>
                  </a:lnTo>
                  <a:lnTo>
                    <a:pt x="3521" y="2471"/>
                  </a:lnTo>
                  <a:lnTo>
                    <a:pt x="3539" y="2551"/>
                  </a:lnTo>
                  <a:lnTo>
                    <a:pt x="3574" y="2595"/>
                  </a:lnTo>
                  <a:lnTo>
                    <a:pt x="3495" y="2577"/>
                  </a:lnTo>
                  <a:lnTo>
                    <a:pt x="3424" y="2542"/>
                  </a:lnTo>
                  <a:lnTo>
                    <a:pt x="3389" y="2471"/>
                  </a:lnTo>
                  <a:lnTo>
                    <a:pt x="3353" y="2401"/>
                  </a:lnTo>
                  <a:lnTo>
                    <a:pt x="3292" y="2365"/>
                  </a:lnTo>
                  <a:lnTo>
                    <a:pt x="3230" y="2374"/>
                  </a:lnTo>
                  <a:lnTo>
                    <a:pt x="3177" y="2445"/>
                  </a:lnTo>
                  <a:lnTo>
                    <a:pt x="3151" y="2506"/>
                  </a:lnTo>
                  <a:lnTo>
                    <a:pt x="3195" y="2533"/>
                  </a:lnTo>
                  <a:lnTo>
                    <a:pt x="3203" y="2577"/>
                  </a:lnTo>
                  <a:lnTo>
                    <a:pt x="3274" y="2630"/>
                  </a:lnTo>
                  <a:lnTo>
                    <a:pt x="1747" y="2683"/>
                  </a:lnTo>
                  <a:lnTo>
                    <a:pt x="1659" y="2683"/>
                  </a:lnTo>
                  <a:lnTo>
                    <a:pt x="1606" y="2656"/>
                  </a:lnTo>
                  <a:lnTo>
                    <a:pt x="1536" y="2639"/>
                  </a:lnTo>
                  <a:lnTo>
                    <a:pt x="1483" y="2683"/>
                  </a:lnTo>
                  <a:lnTo>
                    <a:pt x="1403" y="2683"/>
                  </a:lnTo>
                  <a:lnTo>
                    <a:pt x="1324" y="2692"/>
                  </a:lnTo>
                  <a:lnTo>
                    <a:pt x="1288" y="2727"/>
                  </a:lnTo>
                  <a:lnTo>
                    <a:pt x="1227" y="2727"/>
                  </a:lnTo>
                  <a:lnTo>
                    <a:pt x="1183" y="2692"/>
                  </a:lnTo>
                  <a:lnTo>
                    <a:pt x="1138" y="2674"/>
                  </a:lnTo>
                  <a:lnTo>
                    <a:pt x="1041" y="2683"/>
                  </a:lnTo>
                  <a:lnTo>
                    <a:pt x="980" y="2674"/>
                  </a:lnTo>
                  <a:lnTo>
                    <a:pt x="927" y="2603"/>
                  </a:lnTo>
                  <a:lnTo>
                    <a:pt x="883" y="2559"/>
                  </a:lnTo>
                  <a:lnTo>
                    <a:pt x="821" y="2533"/>
                  </a:lnTo>
                  <a:lnTo>
                    <a:pt x="821" y="2480"/>
                  </a:lnTo>
                  <a:lnTo>
                    <a:pt x="874" y="2445"/>
                  </a:lnTo>
                  <a:lnTo>
                    <a:pt x="883" y="2392"/>
                  </a:lnTo>
                  <a:lnTo>
                    <a:pt x="874" y="2321"/>
                  </a:lnTo>
                  <a:lnTo>
                    <a:pt x="909" y="2268"/>
                  </a:lnTo>
                  <a:lnTo>
                    <a:pt x="980" y="2224"/>
                  </a:lnTo>
                  <a:lnTo>
                    <a:pt x="1015" y="2171"/>
                  </a:lnTo>
                  <a:lnTo>
                    <a:pt x="997" y="2109"/>
                  </a:lnTo>
                  <a:lnTo>
                    <a:pt x="953" y="2092"/>
                  </a:lnTo>
                  <a:lnTo>
                    <a:pt x="900" y="2136"/>
                  </a:lnTo>
                  <a:lnTo>
                    <a:pt x="847" y="2118"/>
                  </a:lnTo>
                  <a:lnTo>
                    <a:pt x="803" y="2153"/>
                  </a:lnTo>
                  <a:lnTo>
                    <a:pt x="715" y="2145"/>
                  </a:lnTo>
                  <a:lnTo>
                    <a:pt x="671" y="2189"/>
                  </a:lnTo>
                  <a:lnTo>
                    <a:pt x="521" y="2127"/>
                  </a:lnTo>
                  <a:lnTo>
                    <a:pt x="459" y="2198"/>
                  </a:lnTo>
                  <a:lnTo>
                    <a:pt x="415" y="2145"/>
                  </a:lnTo>
                  <a:lnTo>
                    <a:pt x="344" y="2118"/>
                  </a:lnTo>
                  <a:lnTo>
                    <a:pt x="282" y="2118"/>
                  </a:lnTo>
                  <a:lnTo>
                    <a:pt x="256" y="2021"/>
                  </a:lnTo>
                  <a:lnTo>
                    <a:pt x="221" y="1968"/>
                  </a:lnTo>
                  <a:lnTo>
                    <a:pt x="177" y="1915"/>
                  </a:lnTo>
                  <a:lnTo>
                    <a:pt x="124" y="1871"/>
                  </a:lnTo>
                  <a:lnTo>
                    <a:pt x="53" y="1871"/>
                  </a:lnTo>
                  <a:lnTo>
                    <a:pt x="0" y="1836"/>
                  </a:lnTo>
                  <a:lnTo>
                    <a:pt x="388" y="1562"/>
                  </a:lnTo>
                  <a:lnTo>
                    <a:pt x="450" y="1527"/>
                  </a:lnTo>
                  <a:lnTo>
                    <a:pt x="538" y="1509"/>
                  </a:lnTo>
                  <a:lnTo>
                    <a:pt x="582" y="1430"/>
                  </a:lnTo>
                  <a:lnTo>
                    <a:pt x="662" y="1412"/>
                  </a:lnTo>
                  <a:lnTo>
                    <a:pt x="671" y="1342"/>
                  </a:lnTo>
                  <a:lnTo>
                    <a:pt x="662" y="1306"/>
                  </a:lnTo>
                  <a:lnTo>
                    <a:pt x="706" y="1271"/>
                  </a:lnTo>
                  <a:lnTo>
                    <a:pt x="653" y="1218"/>
                  </a:lnTo>
                  <a:lnTo>
                    <a:pt x="706" y="1156"/>
                  </a:lnTo>
                  <a:lnTo>
                    <a:pt x="759" y="1112"/>
                  </a:lnTo>
                  <a:lnTo>
                    <a:pt x="830" y="1121"/>
                  </a:lnTo>
                  <a:lnTo>
                    <a:pt x="821" y="1068"/>
                  </a:lnTo>
                  <a:lnTo>
                    <a:pt x="838" y="1024"/>
                  </a:lnTo>
                  <a:lnTo>
                    <a:pt x="785" y="971"/>
                  </a:lnTo>
                  <a:lnTo>
                    <a:pt x="838" y="918"/>
                  </a:lnTo>
                  <a:lnTo>
                    <a:pt x="909" y="909"/>
                  </a:lnTo>
                  <a:lnTo>
                    <a:pt x="962" y="865"/>
                  </a:lnTo>
                  <a:lnTo>
                    <a:pt x="1006" y="918"/>
                  </a:lnTo>
                  <a:lnTo>
                    <a:pt x="1059" y="892"/>
                  </a:lnTo>
                  <a:lnTo>
                    <a:pt x="1041" y="830"/>
                  </a:lnTo>
                  <a:lnTo>
                    <a:pt x="1112" y="848"/>
                  </a:lnTo>
                  <a:lnTo>
                    <a:pt x="1138" y="812"/>
                  </a:lnTo>
                  <a:lnTo>
                    <a:pt x="1147" y="759"/>
                  </a:lnTo>
                  <a:lnTo>
                    <a:pt x="1200" y="759"/>
                  </a:lnTo>
                  <a:lnTo>
                    <a:pt x="1227" y="706"/>
                  </a:lnTo>
                  <a:lnTo>
                    <a:pt x="1288" y="706"/>
                  </a:lnTo>
                  <a:lnTo>
                    <a:pt x="1288" y="671"/>
                  </a:lnTo>
                  <a:lnTo>
                    <a:pt x="1386" y="689"/>
                  </a:lnTo>
                  <a:lnTo>
                    <a:pt x="1456" y="680"/>
                  </a:lnTo>
                  <a:lnTo>
                    <a:pt x="1456" y="627"/>
                  </a:lnTo>
                  <a:lnTo>
                    <a:pt x="1465" y="556"/>
                  </a:lnTo>
                  <a:lnTo>
                    <a:pt x="1500" y="539"/>
                  </a:lnTo>
                  <a:lnTo>
                    <a:pt x="1553" y="583"/>
                  </a:lnTo>
                  <a:lnTo>
                    <a:pt x="1606" y="521"/>
                  </a:lnTo>
                  <a:lnTo>
                    <a:pt x="1677" y="556"/>
                  </a:lnTo>
                  <a:lnTo>
                    <a:pt x="1747" y="556"/>
                  </a:lnTo>
                  <a:lnTo>
                    <a:pt x="1827" y="512"/>
                  </a:lnTo>
                  <a:lnTo>
                    <a:pt x="1871" y="565"/>
                  </a:lnTo>
                  <a:lnTo>
                    <a:pt x="1924" y="539"/>
                  </a:lnTo>
                  <a:lnTo>
                    <a:pt x="1950" y="583"/>
                  </a:lnTo>
                  <a:lnTo>
                    <a:pt x="2012" y="556"/>
                  </a:lnTo>
                  <a:lnTo>
                    <a:pt x="2074" y="583"/>
                  </a:lnTo>
                  <a:lnTo>
                    <a:pt x="2118" y="530"/>
                  </a:lnTo>
                  <a:lnTo>
                    <a:pt x="2189" y="530"/>
                  </a:lnTo>
                  <a:lnTo>
                    <a:pt x="2277" y="530"/>
                  </a:lnTo>
                  <a:lnTo>
                    <a:pt x="2321" y="477"/>
                  </a:lnTo>
                  <a:lnTo>
                    <a:pt x="2383" y="486"/>
                  </a:lnTo>
                  <a:lnTo>
                    <a:pt x="2409" y="424"/>
                  </a:lnTo>
                  <a:lnTo>
                    <a:pt x="2497" y="442"/>
                  </a:lnTo>
                  <a:lnTo>
                    <a:pt x="2559" y="406"/>
                  </a:lnTo>
                  <a:lnTo>
                    <a:pt x="2789" y="406"/>
                  </a:lnTo>
                  <a:lnTo>
                    <a:pt x="2771" y="345"/>
                  </a:lnTo>
                  <a:lnTo>
                    <a:pt x="2859" y="327"/>
                  </a:lnTo>
                  <a:lnTo>
                    <a:pt x="2912" y="292"/>
                  </a:lnTo>
                  <a:lnTo>
                    <a:pt x="2903" y="239"/>
                  </a:lnTo>
                  <a:lnTo>
                    <a:pt x="2992" y="239"/>
                  </a:lnTo>
                  <a:lnTo>
                    <a:pt x="3000" y="195"/>
                  </a:lnTo>
                  <a:lnTo>
                    <a:pt x="3053" y="177"/>
                  </a:lnTo>
                  <a:lnTo>
                    <a:pt x="3124" y="177"/>
                  </a:lnTo>
                  <a:lnTo>
                    <a:pt x="3177" y="150"/>
                  </a:lnTo>
                  <a:lnTo>
                    <a:pt x="3239" y="168"/>
                  </a:lnTo>
                  <a:lnTo>
                    <a:pt x="3301" y="177"/>
                  </a:lnTo>
                  <a:lnTo>
                    <a:pt x="3371" y="168"/>
                  </a:lnTo>
                  <a:lnTo>
                    <a:pt x="3459" y="177"/>
                  </a:lnTo>
                  <a:lnTo>
                    <a:pt x="3512" y="186"/>
                  </a:lnTo>
                  <a:lnTo>
                    <a:pt x="3618" y="106"/>
                  </a:lnTo>
                  <a:lnTo>
                    <a:pt x="3698" y="0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1" name="Freeform 7"/>
            <p:cNvSpPr>
              <a:spLocks noChangeArrowheads="1"/>
            </p:cNvSpPr>
            <p:nvPr/>
          </p:nvSpPr>
          <p:spPr bwMode="auto">
            <a:xfrm>
              <a:off x="4263526" y="3393950"/>
              <a:ext cx="1182769" cy="1125802"/>
            </a:xfrm>
            <a:custGeom>
              <a:avLst/>
              <a:gdLst/>
              <a:ahLst/>
              <a:cxnLst>
                <a:cxn ang="0">
                  <a:pos x="4007" y="2285"/>
                </a:cxn>
                <a:cxn ang="0">
                  <a:pos x="3998" y="2100"/>
                </a:cxn>
                <a:cxn ang="0">
                  <a:pos x="3936" y="1862"/>
                </a:cxn>
                <a:cxn ang="0">
                  <a:pos x="3874" y="1667"/>
                </a:cxn>
                <a:cxn ang="0">
                  <a:pos x="3874" y="1447"/>
                </a:cxn>
                <a:cxn ang="0">
                  <a:pos x="3927" y="1279"/>
                </a:cxn>
                <a:cxn ang="0">
                  <a:pos x="3883" y="1129"/>
                </a:cxn>
                <a:cxn ang="0">
                  <a:pos x="3839" y="1014"/>
                </a:cxn>
                <a:cxn ang="0">
                  <a:pos x="3998" y="864"/>
                </a:cxn>
                <a:cxn ang="0">
                  <a:pos x="4059" y="706"/>
                </a:cxn>
                <a:cxn ang="0">
                  <a:pos x="4042" y="529"/>
                </a:cxn>
                <a:cxn ang="0">
                  <a:pos x="4174" y="309"/>
                </a:cxn>
                <a:cxn ang="0">
                  <a:pos x="4174" y="176"/>
                </a:cxn>
                <a:cxn ang="0">
                  <a:pos x="4121" y="35"/>
                </a:cxn>
                <a:cxn ang="0">
                  <a:pos x="3918" y="9"/>
                </a:cxn>
                <a:cxn ang="0">
                  <a:pos x="3680" y="61"/>
                </a:cxn>
                <a:cxn ang="0">
                  <a:pos x="3468" y="61"/>
                </a:cxn>
                <a:cxn ang="0">
                  <a:pos x="3265" y="88"/>
                </a:cxn>
                <a:cxn ang="0">
                  <a:pos x="2992" y="132"/>
                </a:cxn>
                <a:cxn ang="0">
                  <a:pos x="2648" y="123"/>
                </a:cxn>
                <a:cxn ang="0">
                  <a:pos x="2321" y="114"/>
                </a:cxn>
                <a:cxn ang="0">
                  <a:pos x="2162" y="220"/>
                </a:cxn>
                <a:cxn ang="0">
                  <a:pos x="1986" y="176"/>
                </a:cxn>
                <a:cxn ang="0">
                  <a:pos x="1844" y="291"/>
                </a:cxn>
                <a:cxn ang="0">
                  <a:pos x="1624" y="326"/>
                </a:cxn>
                <a:cxn ang="0">
                  <a:pos x="1439" y="344"/>
                </a:cxn>
                <a:cxn ang="0">
                  <a:pos x="1297" y="476"/>
                </a:cxn>
                <a:cxn ang="0">
                  <a:pos x="1236" y="626"/>
                </a:cxn>
                <a:cxn ang="0">
                  <a:pos x="1103" y="767"/>
                </a:cxn>
                <a:cxn ang="0">
                  <a:pos x="927" y="847"/>
                </a:cxn>
                <a:cxn ang="0">
                  <a:pos x="618" y="979"/>
                </a:cxn>
                <a:cxn ang="0">
                  <a:pos x="441" y="1173"/>
                </a:cxn>
                <a:cxn ang="0">
                  <a:pos x="230" y="1323"/>
                </a:cxn>
                <a:cxn ang="0">
                  <a:pos x="62" y="1562"/>
                </a:cxn>
                <a:cxn ang="0">
                  <a:pos x="115" y="3909"/>
                </a:cxn>
                <a:cxn ang="0">
                  <a:pos x="327" y="3909"/>
                </a:cxn>
                <a:cxn ang="0">
                  <a:pos x="415" y="3979"/>
                </a:cxn>
                <a:cxn ang="0">
                  <a:pos x="591" y="3935"/>
                </a:cxn>
                <a:cxn ang="0">
                  <a:pos x="715" y="3865"/>
                </a:cxn>
                <a:cxn ang="0">
                  <a:pos x="891" y="3873"/>
                </a:cxn>
                <a:cxn ang="0">
                  <a:pos x="1024" y="3706"/>
                </a:cxn>
                <a:cxn ang="0">
                  <a:pos x="1006" y="3582"/>
                </a:cxn>
                <a:cxn ang="0">
                  <a:pos x="1183" y="3485"/>
                </a:cxn>
                <a:cxn ang="0">
                  <a:pos x="1138" y="3335"/>
                </a:cxn>
                <a:cxn ang="0">
                  <a:pos x="1315" y="3229"/>
                </a:cxn>
                <a:cxn ang="0">
                  <a:pos x="1394" y="3194"/>
                </a:cxn>
                <a:cxn ang="0">
                  <a:pos x="1500" y="3123"/>
                </a:cxn>
                <a:cxn ang="0">
                  <a:pos x="1641" y="3070"/>
                </a:cxn>
                <a:cxn ang="0">
                  <a:pos x="1809" y="3044"/>
                </a:cxn>
                <a:cxn ang="0">
                  <a:pos x="1853" y="2903"/>
                </a:cxn>
                <a:cxn ang="0">
                  <a:pos x="2030" y="2920"/>
                </a:cxn>
                <a:cxn ang="0">
                  <a:pos x="2224" y="2929"/>
                </a:cxn>
                <a:cxn ang="0">
                  <a:pos x="2365" y="2920"/>
                </a:cxn>
                <a:cxn ang="0">
                  <a:pos x="2542" y="2894"/>
                </a:cxn>
                <a:cxn ang="0">
                  <a:pos x="2736" y="2850"/>
                </a:cxn>
                <a:cxn ang="0">
                  <a:pos x="2912" y="2770"/>
                </a:cxn>
                <a:cxn ang="0">
                  <a:pos x="3212" y="2691"/>
                </a:cxn>
                <a:cxn ang="0">
                  <a:pos x="3345" y="2603"/>
                </a:cxn>
                <a:cxn ang="0">
                  <a:pos x="3477" y="2541"/>
                </a:cxn>
                <a:cxn ang="0">
                  <a:pos x="3654" y="2541"/>
                </a:cxn>
                <a:cxn ang="0">
                  <a:pos x="3865" y="2550"/>
                </a:cxn>
                <a:cxn ang="0">
                  <a:pos x="4033" y="2347"/>
                </a:cxn>
              </a:cxnLst>
              <a:rect l="0" t="0" r="r" b="b"/>
              <a:pathLst>
                <a:path w="4246" h="3989">
                  <a:moveTo>
                    <a:pt x="4033" y="2347"/>
                  </a:moveTo>
                  <a:lnTo>
                    <a:pt x="4051" y="2303"/>
                  </a:lnTo>
                  <a:lnTo>
                    <a:pt x="4007" y="2285"/>
                  </a:lnTo>
                  <a:lnTo>
                    <a:pt x="4059" y="2197"/>
                  </a:lnTo>
                  <a:lnTo>
                    <a:pt x="4042" y="2144"/>
                  </a:lnTo>
                  <a:lnTo>
                    <a:pt x="3998" y="2100"/>
                  </a:lnTo>
                  <a:lnTo>
                    <a:pt x="4015" y="2012"/>
                  </a:lnTo>
                  <a:lnTo>
                    <a:pt x="3998" y="1941"/>
                  </a:lnTo>
                  <a:lnTo>
                    <a:pt x="3936" y="1862"/>
                  </a:lnTo>
                  <a:lnTo>
                    <a:pt x="3892" y="1809"/>
                  </a:lnTo>
                  <a:lnTo>
                    <a:pt x="3857" y="1729"/>
                  </a:lnTo>
                  <a:lnTo>
                    <a:pt x="3874" y="1667"/>
                  </a:lnTo>
                  <a:lnTo>
                    <a:pt x="3901" y="1606"/>
                  </a:lnTo>
                  <a:lnTo>
                    <a:pt x="3892" y="1509"/>
                  </a:lnTo>
                  <a:lnTo>
                    <a:pt x="3874" y="1447"/>
                  </a:lnTo>
                  <a:lnTo>
                    <a:pt x="3909" y="1394"/>
                  </a:lnTo>
                  <a:lnTo>
                    <a:pt x="3892" y="1323"/>
                  </a:lnTo>
                  <a:lnTo>
                    <a:pt x="3927" y="1279"/>
                  </a:lnTo>
                  <a:lnTo>
                    <a:pt x="3901" y="1235"/>
                  </a:lnTo>
                  <a:lnTo>
                    <a:pt x="3927" y="1182"/>
                  </a:lnTo>
                  <a:lnTo>
                    <a:pt x="3883" y="1129"/>
                  </a:lnTo>
                  <a:lnTo>
                    <a:pt x="3901" y="1094"/>
                  </a:lnTo>
                  <a:lnTo>
                    <a:pt x="3839" y="1067"/>
                  </a:lnTo>
                  <a:lnTo>
                    <a:pt x="3839" y="1014"/>
                  </a:lnTo>
                  <a:lnTo>
                    <a:pt x="3901" y="970"/>
                  </a:lnTo>
                  <a:lnTo>
                    <a:pt x="3945" y="917"/>
                  </a:lnTo>
                  <a:lnTo>
                    <a:pt x="3998" y="864"/>
                  </a:lnTo>
                  <a:lnTo>
                    <a:pt x="4051" y="811"/>
                  </a:lnTo>
                  <a:lnTo>
                    <a:pt x="4086" y="767"/>
                  </a:lnTo>
                  <a:lnTo>
                    <a:pt x="4059" y="706"/>
                  </a:lnTo>
                  <a:lnTo>
                    <a:pt x="4033" y="653"/>
                  </a:lnTo>
                  <a:lnTo>
                    <a:pt x="4068" y="591"/>
                  </a:lnTo>
                  <a:lnTo>
                    <a:pt x="4042" y="529"/>
                  </a:lnTo>
                  <a:lnTo>
                    <a:pt x="4086" y="432"/>
                  </a:lnTo>
                  <a:lnTo>
                    <a:pt x="4130" y="379"/>
                  </a:lnTo>
                  <a:lnTo>
                    <a:pt x="4174" y="309"/>
                  </a:lnTo>
                  <a:lnTo>
                    <a:pt x="4245" y="256"/>
                  </a:lnTo>
                  <a:lnTo>
                    <a:pt x="4236" y="194"/>
                  </a:lnTo>
                  <a:lnTo>
                    <a:pt x="4174" y="176"/>
                  </a:lnTo>
                  <a:lnTo>
                    <a:pt x="4139" y="114"/>
                  </a:lnTo>
                  <a:lnTo>
                    <a:pt x="4174" y="79"/>
                  </a:lnTo>
                  <a:lnTo>
                    <a:pt x="4121" y="35"/>
                  </a:lnTo>
                  <a:lnTo>
                    <a:pt x="4051" y="0"/>
                  </a:lnTo>
                  <a:lnTo>
                    <a:pt x="3971" y="0"/>
                  </a:lnTo>
                  <a:lnTo>
                    <a:pt x="3918" y="9"/>
                  </a:lnTo>
                  <a:lnTo>
                    <a:pt x="3821" y="35"/>
                  </a:lnTo>
                  <a:lnTo>
                    <a:pt x="3759" y="70"/>
                  </a:lnTo>
                  <a:lnTo>
                    <a:pt x="3680" y="61"/>
                  </a:lnTo>
                  <a:lnTo>
                    <a:pt x="3609" y="26"/>
                  </a:lnTo>
                  <a:lnTo>
                    <a:pt x="3539" y="26"/>
                  </a:lnTo>
                  <a:lnTo>
                    <a:pt x="3468" y="61"/>
                  </a:lnTo>
                  <a:lnTo>
                    <a:pt x="3433" y="106"/>
                  </a:lnTo>
                  <a:lnTo>
                    <a:pt x="3345" y="114"/>
                  </a:lnTo>
                  <a:lnTo>
                    <a:pt x="3265" y="88"/>
                  </a:lnTo>
                  <a:lnTo>
                    <a:pt x="3186" y="123"/>
                  </a:lnTo>
                  <a:lnTo>
                    <a:pt x="3133" y="159"/>
                  </a:lnTo>
                  <a:lnTo>
                    <a:pt x="2992" y="132"/>
                  </a:lnTo>
                  <a:lnTo>
                    <a:pt x="2815" y="176"/>
                  </a:lnTo>
                  <a:lnTo>
                    <a:pt x="2753" y="159"/>
                  </a:lnTo>
                  <a:lnTo>
                    <a:pt x="2648" y="123"/>
                  </a:lnTo>
                  <a:lnTo>
                    <a:pt x="2533" y="123"/>
                  </a:lnTo>
                  <a:lnTo>
                    <a:pt x="2427" y="123"/>
                  </a:lnTo>
                  <a:lnTo>
                    <a:pt x="2321" y="114"/>
                  </a:lnTo>
                  <a:lnTo>
                    <a:pt x="2250" y="106"/>
                  </a:lnTo>
                  <a:lnTo>
                    <a:pt x="2215" y="159"/>
                  </a:lnTo>
                  <a:lnTo>
                    <a:pt x="2162" y="220"/>
                  </a:lnTo>
                  <a:lnTo>
                    <a:pt x="2083" y="256"/>
                  </a:lnTo>
                  <a:lnTo>
                    <a:pt x="2030" y="229"/>
                  </a:lnTo>
                  <a:lnTo>
                    <a:pt x="1986" y="176"/>
                  </a:lnTo>
                  <a:lnTo>
                    <a:pt x="1950" y="211"/>
                  </a:lnTo>
                  <a:lnTo>
                    <a:pt x="1880" y="211"/>
                  </a:lnTo>
                  <a:lnTo>
                    <a:pt x="1844" y="291"/>
                  </a:lnTo>
                  <a:lnTo>
                    <a:pt x="1774" y="291"/>
                  </a:lnTo>
                  <a:lnTo>
                    <a:pt x="1739" y="335"/>
                  </a:lnTo>
                  <a:lnTo>
                    <a:pt x="1624" y="326"/>
                  </a:lnTo>
                  <a:lnTo>
                    <a:pt x="1527" y="335"/>
                  </a:lnTo>
                  <a:lnTo>
                    <a:pt x="1447" y="291"/>
                  </a:lnTo>
                  <a:lnTo>
                    <a:pt x="1439" y="344"/>
                  </a:lnTo>
                  <a:lnTo>
                    <a:pt x="1386" y="370"/>
                  </a:lnTo>
                  <a:lnTo>
                    <a:pt x="1359" y="441"/>
                  </a:lnTo>
                  <a:lnTo>
                    <a:pt x="1297" y="476"/>
                  </a:lnTo>
                  <a:lnTo>
                    <a:pt x="1280" y="529"/>
                  </a:lnTo>
                  <a:lnTo>
                    <a:pt x="1236" y="573"/>
                  </a:lnTo>
                  <a:lnTo>
                    <a:pt x="1236" y="626"/>
                  </a:lnTo>
                  <a:lnTo>
                    <a:pt x="1174" y="670"/>
                  </a:lnTo>
                  <a:lnTo>
                    <a:pt x="1165" y="723"/>
                  </a:lnTo>
                  <a:lnTo>
                    <a:pt x="1103" y="767"/>
                  </a:lnTo>
                  <a:lnTo>
                    <a:pt x="1077" y="811"/>
                  </a:lnTo>
                  <a:lnTo>
                    <a:pt x="997" y="820"/>
                  </a:lnTo>
                  <a:lnTo>
                    <a:pt x="927" y="847"/>
                  </a:lnTo>
                  <a:lnTo>
                    <a:pt x="821" y="847"/>
                  </a:lnTo>
                  <a:lnTo>
                    <a:pt x="715" y="917"/>
                  </a:lnTo>
                  <a:lnTo>
                    <a:pt x="618" y="979"/>
                  </a:lnTo>
                  <a:lnTo>
                    <a:pt x="547" y="1023"/>
                  </a:lnTo>
                  <a:lnTo>
                    <a:pt x="468" y="1076"/>
                  </a:lnTo>
                  <a:lnTo>
                    <a:pt x="441" y="1173"/>
                  </a:lnTo>
                  <a:lnTo>
                    <a:pt x="388" y="1217"/>
                  </a:lnTo>
                  <a:lnTo>
                    <a:pt x="300" y="1270"/>
                  </a:lnTo>
                  <a:lnTo>
                    <a:pt x="230" y="1323"/>
                  </a:lnTo>
                  <a:lnTo>
                    <a:pt x="150" y="1367"/>
                  </a:lnTo>
                  <a:lnTo>
                    <a:pt x="106" y="1482"/>
                  </a:lnTo>
                  <a:lnTo>
                    <a:pt x="62" y="1562"/>
                  </a:lnTo>
                  <a:lnTo>
                    <a:pt x="0" y="1614"/>
                  </a:lnTo>
                  <a:lnTo>
                    <a:pt x="71" y="3873"/>
                  </a:lnTo>
                  <a:lnTo>
                    <a:pt x="115" y="3909"/>
                  </a:lnTo>
                  <a:lnTo>
                    <a:pt x="194" y="3891"/>
                  </a:lnTo>
                  <a:lnTo>
                    <a:pt x="238" y="3917"/>
                  </a:lnTo>
                  <a:lnTo>
                    <a:pt x="327" y="3909"/>
                  </a:lnTo>
                  <a:lnTo>
                    <a:pt x="335" y="3953"/>
                  </a:lnTo>
                  <a:lnTo>
                    <a:pt x="415" y="3944"/>
                  </a:lnTo>
                  <a:lnTo>
                    <a:pt x="415" y="3979"/>
                  </a:lnTo>
                  <a:lnTo>
                    <a:pt x="503" y="3953"/>
                  </a:lnTo>
                  <a:lnTo>
                    <a:pt x="530" y="3988"/>
                  </a:lnTo>
                  <a:lnTo>
                    <a:pt x="591" y="3935"/>
                  </a:lnTo>
                  <a:lnTo>
                    <a:pt x="582" y="3882"/>
                  </a:lnTo>
                  <a:lnTo>
                    <a:pt x="627" y="3838"/>
                  </a:lnTo>
                  <a:lnTo>
                    <a:pt x="715" y="3865"/>
                  </a:lnTo>
                  <a:lnTo>
                    <a:pt x="741" y="3926"/>
                  </a:lnTo>
                  <a:lnTo>
                    <a:pt x="803" y="3891"/>
                  </a:lnTo>
                  <a:lnTo>
                    <a:pt x="891" y="3873"/>
                  </a:lnTo>
                  <a:lnTo>
                    <a:pt x="935" y="3794"/>
                  </a:lnTo>
                  <a:lnTo>
                    <a:pt x="1015" y="3776"/>
                  </a:lnTo>
                  <a:lnTo>
                    <a:pt x="1024" y="3706"/>
                  </a:lnTo>
                  <a:lnTo>
                    <a:pt x="1015" y="3670"/>
                  </a:lnTo>
                  <a:lnTo>
                    <a:pt x="1059" y="3635"/>
                  </a:lnTo>
                  <a:lnTo>
                    <a:pt x="1006" y="3582"/>
                  </a:lnTo>
                  <a:lnTo>
                    <a:pt x="1059" y="3520"/>
                  </a:lnTo>
                  <a:lnTo>
                    <a:pt x="1112" y="3476"/>
                  </a:lnTo>
                  <a:lnTo>
                    <a:pt x="1183" y="3485"/>
                  </a:lnTo>
                  <a:lnTo>
                    <a:pt x="1174" y="3432"/>
                  </a:lnTo>
                  <a:lnTo>
                    <a:pt x="1191" y="3388"/>
                  </a:lnTo>
                  <a:lnTo>
                    <a:pt x="1138" y="3335"/>
                  </a:lnTo>
                  <a:lnTo>
                    <a:pt x="1191" y="3282"/>
                  </a:lnTo>
                  <a:lnTo>
                    <a:pt x="1262" y="3273"/>
                  </a:lnTo>
                  <a:lnTo>
                    <a:pt x="1315" y="3229"/>
                  </a:lnTo>
                  <a:lnTo>
                    <a:pt x="1359" y="3282"/>
                  </a:lnTo>
                  <a:lnTo>
                    <a:pt x="1412" y="3256"/>
                  </a:lnTo>
                  <a:lnTo>
                    <a:pt x="1394" y="3194"/>
                  </a:lnTo>
                  <a:lnTo>
                    <a:pt x="1465" y="3212"/>
                  </a:lnTo>
                  <a:lnTo>
                    <a:pt x="1491" y="3176"/>
                  </a:lnTo>
                  <a:lnTo>
                    <a:pt x="1500" y="3123"/>
                  </a:lnTo>
                  <a:lnTo>
                    <a:pt x="1553" y="3123"/>
                  </a:lnTo>
                  <a:lnTo>
                    <a:pt x="1580" y="3070"/>
                  </a:lnTo>
                  <a:lnTo>
                    <a:pt x="1641" y="3070"/>
                  </a:lnTo>
                  <a:lnTo>
                    <a:pt x="1641" y="3035"/>
                  </a:lnTo>
                  <a:lnTo>
                    <a:pt x="1739" y="3053"/>
                  </a:lnTo>
                  <a:lnTo>
                    <a:pt x="1809" y="3044"/>
                  </a:lnTo>
                  <a:lnTo>
                    <a:pt x="1809" y="2991"/>
                  </a:lnTo>
                  <a:lnTo>
                    <a:pt x="1818" y="2920"/>
                  </a:lnTo>
                  <a:lnTo>
                    <a:pt x="1853" y="2903"/>
                  </a:lnTo>
                  <a:lnTo>
                    <a:pt x="1906" y="2947"/>
                  </a:lnTo>
                  <a:lnTo>
                    <a:pt x="1959" y="2885"/>
                  </a:lnTo>
                  <a:lnTo>
                    <a:pt x="2030" y="2920"/>
                  </a:lnTo>
                  <a:lnTo>
                    <a:pt x="2100" y="2920"/>
                  </a:lnTo>
                  <a:lnTo>
                    <a:pt x="2180" y="2876"/>
                  </a:lnTo>
                  <a:lnTo>
                    <a:pt x="2224" y="2929"/>
                  </a:lnTo>
                  <a:lnTo>
                    <a:pt x="2277" y="2903"/>
                  </a:lnTo>
                  <a:lnTo>
                    <a:pt x="2303" y="2947"/>
                  </a:lnTo>
                  <a:lnTo>
                    <a:pt x="2365" y="2920"/>
                  </a:lnTo>
                  <a:lnTo>
                    <a:pt x="2427" y="2947"/>
                  </a:lnTo>
                  <a:lnTo>
                    <a:pt x="2471" y="2894"/>
                  </a:lnTo>
                  <a:lnTo>
                    <a:pt x="2542" y="2894"/>
                  </a:lnTo>
                  <a:lnTo>
                    <a:pt x="2630" y="2894"/>
                  </a:lnTo>
                  <a:lnTo>
                    <a:pt x="2674" y="2841"/>
                  </a:lnTo>
                  <a:lnTo>
                    <a:pt x="2736" y="2850"/>
                  </a:lnTo>
                  <a:lnTo>
                    <a:pt x="2762" y="2788"/>
                  </a:lnTo>
                  <a:lnTo>
                    <a:pt x="2850" y="2806"/>
                  </a:lnTo>
                  <a:lnTo>
                    <a:pt x="2912" y="2770"/>
                  </a:lnTo>
                  <a:lnTo>
                    <a:pt x="3142" y="2770"/>
                  </a:lnTo>
                  <a:lnTo>
                    <a:pt x="3124" y="2709"/>
                  </a:lnTo>
                  <a:lnTo>
                    <a:pt x="3212" y="2691"/>
                  </a:lnTo>
                  <a:lnTo>
                    <a:pt x="3265" y="2656"/>
                  </a:lnTo>
                  <a:lnTo>
                    <a:pt x="3256" y="2603"/>
                  </a:lnTo>
                  <a:lnTo>
                    <a:pt x="3345" y="2603"/>
                  </a:lnTo>
                  <a:lnTo>
                    <a:pt x="3353" y="2559"/>
                  </a:lnTo>
                  <a:lnTo>
                    <a:pt x="3406" y="2541"/>
                  </a:lnTo>
                  <a:lnTo>
                    <a:pt x="3477" y="2541"/>
                  </a:lnTo>
                  <a:lnTo>
                    <a:pt x="3530" y="2514"/>
                  </a:lnTo>
                  <a:lnTo>
                    <a:pt x="3592" y="2532"/>
                  </a:lnTo>
                  <a:lnTo>
                    <a:pt x="3654" y="2541"/>
                  </a:lnTo>
                  <a:lnTo>
                    <a:pt x="3724" y="2532"/>
                  </a:lnTo>
                  <a:lnTo>
                    <a:pt x="3812" y="2541"/>
                  </a:lnTo>
                  <a:lnTo>
                    <a:pt x="3865" y="2550"/>
                  </a:lnTo>
                  <a:lnTo>
                    <a:pt x="3971" y="2470"/>
                  </a:lnTo>
                  <a:lnTo>
                    <a:pt x="4051" y="2364"/>
                  </a:lnTo>
                  <a:lnTo>
                    <a:pt x="4033" y="2347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2" name="Freeform 11"/>
            <p:cNvSpPr>
              <a:spLocks noChangeArrowheads="1"/>
            </p:cNvSpPr>
            <p:nvPr/>
          </p:nvSpPr>
          <p:spPr bwMode="auto">
            <a:xfrm>
              <a:off x="3388753" y="2506328"/>
              <a:ext cx="523911" cy="743125"/>
            </a:xfrm>
            <a:custGeom>
              <a:avLst/>
              <a:gdLst/>
              <a:ahLst/>
              <a:cxnLst>
                <a:cxn ang="0">
                  <a:pos x="62" y="1825"/>
                </a:cxn>
                <a:cxn ang="0">
                  <a:pos x="203" y="1922"/>
                </a:cxn>
                <a:cxn ang="0">
                  <a:pos x="336" y="1931"/>
                </a:cxn>
                <a:cxn ang="0">
                  <a:pos x="415" y="1869"/>
                </a:cxn>
                <a:cxn ang="0">
                  <a:pos x="556" y="1825"/>
                </a:cxn>
                <a:cxn ang="0">
                  <a:pos x="689" y="1807"/>
                </a:cxn>
                <a:cxn ang="0">
                  <a:pos x="733" y="1905"/>
                </a:cxn>
                <a:cxn ang="0">
                  <a:pos x="839" y="1975"/>
                </a:cxn>
                <a:cxn ang="0">
                  <a:pos x="865" y="2055"/>
                </a:cxn>
                <a:cxn ang="0">
                  <a:pos x="909" y="2178"/>
                </a:cxn>
                <a:cxn ang="0">
                  <a:pos x="944" y="2319"/>
                </a:cxn>
                <a:cxn ang="0">
                  <a:pos x="953" y="2443"/>
                </a:cxn>
                <a:cxn ang="0">
                  <a:pos x="1094" y="2513"/>
                </a:cxn>
                <a:cxn ang="0">
                  <a:pos x="1253" y="2505"/>
                </a:cxn>
                <a:cxn ang="0">
                  <a:pos x="1297" y="2610"/>
                </a:cxn>
                <a:cxn ang="0">
                  <a:pos x="1411" y="2619"/>
                </a:cxn>
                <a:cxn ang="0">
                  <a:pos x="1517" y="2628"/>
                </a:cxn>
                <a:cxn ang="0">
                  <a:pos x="1614" y="2469"/>
                </a:cxn>
                <a:cxn ang="0">
                  <a:pos x="1711" y="2434"/>
                </a:cxn>
                <a:cxn ang="0">
                  <a:pos x="1826" y="2487"/>
                </a:cxn>
                <a:cxn ang="0">
                  <a:pos x="1773" y="2249"/>
                </a:cxn>
                <a:cxn ang="0">
                  <a:pos x="1738" y="2125"/>
                </a:cxn>
                <a:cxn ang="0">
                  <a:pos x="1632" y="2063"/>
                </a:cxn>
                <a:cxn ang="0">
                  <a:pos x="1429" y="2055"/>
                </a:cxn>
                <a:cxn ang="0">
                  <a:pos x="1341" y="1940"/>
                </a:cxn>
                <a:cxn ang="0">
                  <a:pos x="1332" y="1816"/>
                </a:cxn>
                <a:cxn ang="0">
                  <a:pos x="1332" y="1675"/>
                </a:cxn>
                <a:cxn ang="0">
                  <a:pos x="1341" y="1535"/>
                </a:cxn>
                <a:cxn ang="0">
                  <a:pos x="1403" y="1403"/>
                </a:cxn>
                <a:cxn ang="0">
                  <a:pos x="1420" y="1288"/>
                </a:cxn>
                <a:cxn ang="0">
                  <a:pos x="1473" y="1164"/>
                </a:cxn>
                <a:cxn ang="0">
                  <a:pos x="1429" y="1014"/>
                </a:cxn>
                <a:cxn ang="0">
                  <a:pos x="997" y="406"/>
                </a:cxn>
                <a:cxn ang="0">
                  <a:pos x="901" y="194"/>
                </a:cxn>
                <a:cxn ang="0">
                  <a:pos x="786" y="211"/>
                </a:cxn>
                <a:cxn ang="0">
                  <a:pos x="689" y="167"/>
                </a:cxn>
                <a:cxn ang="0">
                  <a:pos x="698" y="79"/>
                </a:cxn>
                <a:cxn ang="0">
                  <a:pos x="574" y="61"/>
                </a:cxn>
                <a:cxn ang="0">
                  <a:pos x="424" y="141"/>
                </a:cxn>
                <a:cxn ang="0">
                  <a:pos x="212" y="167"/>
                </a:cxn>
                <a:cxn ang="0">
                  <a:pos x="177" y="229"/>
                </a:cxn>
                <a:cxn ang="0">
                  <a:pos x="159" y="370"/>
                </a:cxn>
                <a:cxn ang="0">
                  <a:pos x="177" y="511"/>
                </a:cxn>
                <a:cxn ang="0">
                  <a:pos x="142" y="608"/>
                </a:cxn>
                <a:cxn ang="0">
                  <a:pos x="106" y="697"/>
                </a:cxn>
                <a:cxn ang="0">
                  <a:pos x="53" y="820"/>
                </a:cxn>
                <a:cxn ang="0">
                  <a:pos x="106" y="908"/>
                </a:cxn>
                <a:cxn ang="0">
                  <a:pos x="124" y="1041"/>
                </a:cxn>
                <a:cxn ang="0">
                  <a:pos x="203" y="997"/>
                </a:cxn>
                <a:cxn ang="0">
                  <a:pos x="300" y="970"/>
                </a:cxn>
                <a:cxn ang="0">
                  <a:pos x="239" y="1156"/>
                </a:cxn>
                <a:cxn ang="0">
                  <a:pos x="230" y="1314"/>
                </a:cxn>
                <a:cxn ang="0">
                  <a:pos x="353" y="1447"/>
                </a:cxn>
                <a:cxn ang="0">
                  <a:pos x="300" y="1535"/>
                </a:cxn>
                <a:cxn ang="0">
                  <a:pos x="292" y="1666"/>
                </a:cxn>
                <a:cxn ang="0">
                  <a:pos x="186" y="1772"/>
                </a:cxn>
                <a:cxn ang="0">
                  <a:pos x="62" y="1755"/>
                </a:cxn>
                <a:cxn ang="0">
                  <a:pos x="18" y="1781"/>
                </a:cxn>
              </a:cxnLst>
              <a:rect l="0" t="0" r="r" b="b"/>
              <a:pathLst>
                <a:path w="1880" h="2638">
                  <a:moveTo>
                    <a:pt x="18" y="1781"/>
                  </a:moveTo>
                  <a:lnTo>
                    <a:pt x="62" y="1825"/>
                  </a:lnTo>
                  <a:lnTo>
                    <a:pt x="133" y="1887"/>
                  </a:lnTo>
                  <a:lnTo>
                    <a:pt x="203" y="1922"/>
                  </a:lnTo>
                  <a:lnTo>
                    <a:pt x="265" y="1905"/>
                  </a:lnTo>
                  <a:lnTo>
                    <a:pt x="336" y="1931"/>
                  </a:lnTo>
                  <a:lnTo>
                    <a:pt x="398" y="1922"/>
                  </a:lnTo>
                  <a:lnTo>
                    <a:pt x="415" y="1869"/>
                  </a:lnTo>
                  <a:lnTo>
                    <a:pt x="450" y="1807"/>
                  </a:lnTo>
                  <a:lnTo>
                    <a:pt x="556" y="1825"/>
                  </a:lnTo>
                  <a:lnTo>
                    <a:pt x="627" y="1825"/>
                  </a:lnTo>
                  <a:lnTo>
                    <a:pt x="689" y="1807"/>
                  </a:lnTo>
                  <a:lnTo>
                    <a:pt x="733" y="1869"/>
                  </a:lnTo>
                  <a:lnTo>
                    <a:pt x="733" y="1905"/>
                  </a:lnTo>
                  <a:lnTo>
                    <a:pt x="786" y="1931"/>
                  </a:lnTo>
                  <a:lnTo>
                    <a:pt x="839" y="1975"/>
                  </a:lnTo>
                  <a:lnTo>
                    <a:pt x="848" y="2019"/>
                  </a:lnTo>
                  <a:lnTo>
                    <a:pt x="865" y="2055"/>
                  </a:lnTo>
                  <a:lnTo>
                    <a:pt x="918" y="2116"/>
                  </a:lnTo>
                  <a:lnTo>
                    <a:pt x="909" y="2178"/>
                  </a:lnTo>
                  <a:lnTo>
                    <a:pt x="892" y="2249"/>
                  </a:lnTo>
                  <a:lnTo>
                    <a:pt x="944" y="2319"/>
                  </a:lnTo>
                  <a:lnTo>
                    <a:pt x="909" y="2399"/>
                  </a:lnTo>
                  <a:lnTo>
                    <a:pt x="953" y="2443"/>
                  </a:lnTo>
                  <a:lnTo>
                    <a:pt x="1005" y="2496"/>
                  </a:lnTo>
                  <a:lnTo>
                    <a:pt x="1094" y="2513"/>
                  </a:lnTo>
                  <a:lnTo>
                    <a:pt x="1182" y="2513"/>
                  </a:lnTo>
                  <a:lnTo>
                    <a:pt x="1253" y="2505"/>
                  </a:lnTo>
                  <a:lnTo>
                    <a:pt x="1261" y="2558"/>
                  </a:lnTo>
                  <a:lnTo>
                    <a:pt x="1297" y="2610"/>
                  </a:lnTo>
                  <a:lnTo>
                    <a:pt x="1350" y="2610"/>
                  </a:lnTo>
                  <a:lnTo>
                    <a:pt x="1411" y="2619"/>
                  </a:lnTo>
                  <a:lnTo>
                    <a:pt x="1464" y="2637"/>
                  </a:lnTo>
                  <a:lnTo>
                    <a:pt x="1517" y="2628"/>
                  </a:lnTo>
                  <a:lnTo>
                    <a:pt x="1570" y="2540"/>
                  </a:lnTo>
                  <a:lnTo>
                    <a:pt x="1614" y="2469"/>
                  </a:lnTo>
                  <a:lnTo>
                    <a:pt x="1685" y="2505"/>
                  </a:lnTo>
                  <a:lnTo>
                    <a:pt x="1711" y="2434"/>
                  </a:lnTo>
                  <a:lnTo>
                    <a:pt x="1773" y="2452"/>
                  </a:lnTo>
                  <a:lnTo>
                    <a:pt x="1826" y="2487"/>
                  </a:lnTo>
                  <a:lnTo>
                    <a:pt x="1879" y="2452"/>
                  </a:lnTo>
                  <a:lnTo>
                    <a:pt x="1773" y="2249"/>
                  </a:lnTo>
                  <a:lnTo>
                    <a:pt x="1703" y="2178"/>
                  </a:lnTo>
                  <a:lnTo>
                    <a:pt x="1738" y="2125"/>
                  </a:lnTo>
                  <a:lnTo>
                    <a:pt x="1703" y="2063"/>
                  </a:lnTo>
                  <a:lnTo>
                    <a:pt x="1632" y="2063"/>
                  </a:lnTo>
                  <a:lnTo>
                    <a:pt x="1517" y="2063"/>
                  </a:lnTo>
                  <a:lnTo>
                    <a:pt x="1429" y="2055"/>
                  </a:lnTo>
                  <a:lnTo>
                    <a:pt x="1447" y="1993"/>
                  </a:lnTo>
                  <a:lnTo>
                    <a:pt x="1341" y="1940"/>
                  </a:lnTo>
                  <a:lnTo>
                    <a:pt x="1376" y="1896"/>
                  </a:lnTo>
                  <a:lnTo>
                    <a:pt x="1332" y="1816"/>
                  </a:lnTo>
                  <a:lnTo>
                    <a:pt x="1358" y="1755"/>
                  </a:lnTo>
                  <a:lnTo>
                    <a:pt x="1332" y="1675"/>
                  </a:lnTo>
                  <a:lnTo>
                    <a:pt x="1367" y="1596"/>
                  </a:lnTo>
                  <a:lnTo>
                    <a:pt x="1341" y="1535"/>
                  </a:lnTo>
                  <a:lnTo>
                    <a:pt x="1350" y="1438"/>
                  </a:lnTo>
                  <a:lnTo>
                    <a:pt x="1403" y="1403"/>
                  </a:lnTo>
                  <a:lnTo>
                    <a:pt x="1456" y="1332"/>
                  </a:lnTo>
                  <a:lnTo>
                    <a:pt x="1420" y="1288"/>
                  </a:lnTo>
                  <a:lnTo>
                    <a:pt x="1464" y="1226"/>
                  </a:lnTo>
                  <a:lnTo>
                    <a:pt x="1473" y="1164"/>
                  </a:lnTo>
                  <a:lnTo>
                    <a:pt x="1456" y="1085"/>
                  </a:lnTo>
                  <a:lnTo>
                    <a:pt x="1429" y="1014"/>
                  </a:lnTo>
                  <a:lnTo>
                    <a:pt x="1094" y="732"/>
                  </a:lnTo>
                  <a:lnTo>
                    <a:pt x="997" y="406"/>
                  </a:lnTo>
                  <a:lnTo>
                    <a:pt x="970" y="229"/>
                  </a:lnTo>
                  <a:lnTo>
                    <a:pt x="901" y="194"/>
                  </a:lnTo>
                  <a:lnTo>
                    <a:pt x="830" y="167"/>
                  </a:lnTo>
                  <a:lnTo>
                    <a:pt x="786" y="211"/>
                  </a:lnTo>
                  <a:lnTo>
                    <a:pt x="724" y="229"/>
                  </a:lnTo>
                  <a:lnTo>
                    <a:pt x="689" y="167"/>
                  </a:lnTo>
                  <a:lnTo>
                    <a:pt x="733" y="132"/>
                  </a:lnTo>
                  <a:lnTo>
                    <a:pt x="698" y="79"/>
                  </a:lnTo>
                  <a:lnTo>
                    <a:pt x="645" y="0"/>
                  </a:lnTo>
                  <a:lnTo>
                    <a:pt x="574" y="61"/>
                  </a:lnTo>
                  <a:lnTo>
                    <a:pt x="512" y="106"/>
                  </a:lnTo>
                  <a:lnTo>
                    <a:pt x="424" y="141"/>
                  </a:lnTo>
                  <a:lnTo>
                    <a:pt x="327" y="176"/>
                  </a:lnTo>
                  <a:lnTo>
                    <a:pt x="212" y="167"/>
                  </a:lnTo>
                  <a:lnTo>
                    <a:pt x="168" y="167"/>
                  </a:lnTo>
                  <a:lnTo>
                    <a:pt x="177" y="229"/>
                  </a:lnTo>
                  <a:lnTo>
                    <a:pt x="177" y="317"/>
                  </a:lnTo>
                  <a:lnTo>
                    <a:pt x="159" y="370"/>
                  </a:lnTo>
                  <a:lnTo>
                    <a:pt x="168" y="450"/>
                  </a:lnTo>
                  <a:lnTo>
                    <a:pt x="177" y="511"/>
                  </a:lnTo>
                  <a:lnTo>
                    <a:pt x="186" y="582"/>
                  </a:lnTo>
                  <a:lnTo>
                    <a:pt x="142" y="608"/>
                  </a:lnTo>
                  <a:lnTo>
                    <a:pt x="142" y="653"/>
                  </a:lnTo>
                  <a:lnTo>
                    <a:pt x="106" y="697"/>
                  </a:lnTo>
                  <a:lnTo>
                    <a:pt x="71" y="750"/>
                  </a:lnTo>
                  <a:lnTo>
                    <a:pt x="53" y="820"/>
                  </a:lnTo>
                  <a:lnTo>
                    <a:pt x="71" y="864"/>
                  </a:lnTo>
                  <a:lnTo>
                    <a:pt x="106" y="908"/>
                  </a:lnTo>
                  <a:lnTo>
                    <a:pt x="133" y="961"/>
                  </a:lnTo>
                  <a:lnTo>
                    <a:pt x="124" y="1041"/>
                  </a:lnTo>
                  <a:lnTo>
                    <a:pt x="186" y="1067"/>
                  </a:lnTo>
                  <a:lnTo>
                    <a:pt x="203" y="997"/>
                  </a:lnTo>
                  <a:lnTo>
                    <a:pt x="239" y="926"/>
                  </a:lnTo>
                  <a:lnTo>
                    <a:pt x="300" y="970"/>
                  </a:lnTo>
                  <a:lnTo>
                    <a:pt x="283" y="1076"/>
                  </a:lnTo>
                  <a:lnTo>
                    <a:pt x="239" y="1156"/>
                  </a:lnTo>
                  <a:lnTo>
                    <a:pt x="230" y="1244"/>
                  </a:lnTo>
                  <a:lnTo>
                    <a:pt x="230" y="1314"/>
                  </a:lnTo>
                  <a:lnTo>
                    <a:pt x="274" y="1376"/>
                  </a:lnTo>
                  <a:lnTo>
                    <a:pt x="353" y="1447"/>
                  </a:lnTo>
                  <a:lnTo>
                    <a:pt x="353" y="1517"/>
                  </a:lnTo>
                  <a:lnTo>
                    <a:pt x="300" y="1535"/>
                  </a:lnTo>
                  <a:lnTo>
                    <a:pt x="309" y="1613"/>
                  </a:lnTo>
                  <a:lnTo>
                    <a:pt x="292" y="1666"/>
                  </a:lnTo>
                  <a:lnTo>
                    <a:pt x="221" y="1728"/>
                  </a:lnTo>
                  <a:lnTo>
                    <a:pt x="186" y="1772"/>
                  </a:lnTo>
                  <a:lnTo>
                    <a:pt x="133" y="1799"/>
                  </a:lnTo>
                  <a:lnTo>
                    <a:pt x="62" y="1755"/>
                  </a:lnTo>
                  <a:lnTo>
                    <a:pt x="0" y="1728"/>
                  </a:lnTo>
                  <a:lnTo>
                    <a:pt x="18" y="1781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3" name="Freeform 16"/>
            <p:cNvSpPr>
              <a:spLocks noChangeArrowheads="1"/>
            </p:cNvSpPr>
            <p:nvPr/>
          </p:nvSpPr>
          <p:spPr bwMode="auto">
            <a:xfrm>
              <a:off x="3093457" y="2866776"/>
              <a:ext cx="677910" cy="755828"/>
            </a:xfrm>
            <a:custGeom>
              <a:avLst/>
              <a:gdLst/>
              <a:ahLst/>
              <a:cxnLst>
                <a:cxn ang="0">
                  <a:pos x="698" y="1102"/>
                </a:cxn>
                <a:cxn ang="0">
                  <a:pos x="751" y="1279"/>
                </a:cxn>
                <a:cxn ang="0">
                  <a:pos x="592" y="1402"/>
                </a:cxn>
                <a:cxn ang="0">
                  <a:pos x="451" y="1570"/>
                </a:cxn>
                <a:cxn ang="0">
                  <a:pos x="283" y="1684"/>
                </a:cxn>
                <a:cxn ang="0">
                  <a:pos x="142" y="1808"/>
                </a:cxn>
                <a:cxn ang="0">
                  <a:pos x="115" y="1993"/>
                </a:cxn>
                <a:cxn ang="0">
                  <a:pos x="80" y="2179"/>
                </a:cxn>
                <a:cxn ang="0">
                  <a:pos x="248" y="2346"/>
                </a:cxn>
                <a:cxn ang="0">
                  <a:pos x="345" y="2417"/>
                </a:cxn>
                <a:cxn ang="0">
                  <a:pos x="415" y="2549"/>
                </a:cxn>
                <a:cxn ang="0">
                  <a:pos x="601" y="2584"/>
                </a:cxn>
                <a:cxn ang="0">
                  <a:pos x="768" y="2673"/>
                </a:cxn>
                <a:cxn ang="0">
                  <a:pos x="971" y="2611"/>
                </a:cxn>
                <a:cxn ang="0">
                  <a:pos x="1121" y="2611"/>
                </a:cxn>
                <a:cxn ang="0">
                  <a:pos x="1209" y="2329"/>
                </a:cxn>
                <a:cxn ang="0">
                  <a:pos x="1395" y="2364"/>
                </a:cxn>
                <a:cxn ang="0">
                  <a:pos x="1271" y="2540"/>
                </a:cxn>
                <a:cxn ang="0">
                  <a:pos x="1421" y="2540"/>
                </a:cxn>
                <a:cxn ang="0">
                  <a:pos x="1571" y="2443"/>
                </a:cxn>
                <a:cxn ang="0">
                  <a:pos x="1801" y="2381"/>
                </a:cxn>
                <a:cxn ang="0">
                  <a:pos x="2012" y="2187"/>
                </a:cxn>
                <a:cxn ang="0">
                  <a:pos x="2153" y="1993"/>
                </a:cxn>
                <a:cxn ang="0">
                  <a:pos x="2082" y="1781"/>
                </a:cxn>
                <a:cxn ang="0">
                  <a:pos x="2197" y="1773"/>
                </a:cxn>
                <a:cxn ang="0">
                  <a:pos x="2347" y="1799"/>
                </a:cxn>
                <a:cxn ang="0">
                  <a:pos x="2435" y="1614"/>
                </a:cxn>
                <a:cxn ang="0">
                  <a:pos x="2435" y="1402"/>
                </a:cxn>
                <a:cxn ang="0">
                  <a:pos x="2320" y="1279"/>
                </a:cxn>
                <a:cxn ang="0">
                  <a:pos x="2153" y="1234"/>
                </a:cxn>
                <a:cxn ang="0">
                  <a:pos x="1968" y="1120"/>
                </a:cxn>
                <a:cxn ang="0">
                  <a:pos x="1968" y="899"/>
                </a:cxn>
                <a:cxn ang="0">
                  <a:pos x="1907" y="740"/>
                </a:cxn>
                <a:cxn ang="0">
                  <a:pos x="1792" y="626"/>
                </a:cxn>
                <a:cxn ang="0">
                  <a:pos x="1686" y="546"/>
                </a:cxn>
                <a:cxn ang="0">
                  <a:pos x="1474" y="590"/>
                </a:cxn>
                <a:cxn ang="0">
                  <a:pos x="1324" y="626"/>
                </a:cxn>
                <a:cxn ang="0">
                  <a:pos x="1121" y="546"/>
                </a:cxn>
                <a:cxn ang="0">
                  <a:pos x="1006" y="449"/>
                </a:cxn>
                <a:cxn ang="0">
                  <a:pos x="883" y="326"/>
                </a:cxn>
                <a:cxn ang="0">
                  <a:pos x="901" y="159"/>
                </a:cxn>
                <a:cxn ang="0">
                  <a:pos x="786" y="44"/>
                </a:cxn>
                <a:cxn ang="0">
                  <a:pos x="777" y="265"/>
                </a:cxn>
                <a:cxn ang="0">
                  <a:pos x="821" y="511"/>
                </a:cxn>
                <a:cxn ang="0">
                  <a:pos x="724" y="723"/>
                </a:cxn>
              </a:cxnLst>
              <a:rect l="0" t="0" r="r" b="b"/>
              <a:pathLst>
                <a:path w="2436" h="2682">
                  <a:moveTo>
                    <a:pt x="680" y="943"/>
                  </a:moveTo>
                  <a:lnTo>
                    <a:pt x="698" y="1023"/>
                  </a:lnTo>
                  <a:lnTo>
                    <a:pt x="698" y="1102"/>
                  </a:lnTo>
                  <a:lnTo>
                    <a:pt x="733" y="1173"/>
                  </a:lnTo>
                  <a:lnTo>
                    <a:pt x="777" y="1226"/>
                  </a:lnTo>
                  <a:lnTo>
                    <a:pt x="751" y="1279"/>
                  </a:lnTo>
                  <a:lnTo>
                    <a:pt x="698" y="1331"/>
                  </a:lnTo>
                  <a:lnTo>
                    <a:pt x="609" y="1349"/>
                  </a:lnTo>
                  <a:lnTo>
                    <a:pt x="592" y="1402"/>
                  </a:lnTo>
                  <a:lnTo>
                    <a:pt x="530" y="1429"/>
                  </a:lnTo>
                  <a:lnTo>
                    <a:pt x="495" y="1508"/>
                  </a:lnTo>
                  <a:lnTo>
                    <a:pt x="451" y="1570"/>
                  </a:lnTo>
                  <a:lnTo>
                    <a:pt x="371" y="1587"/>
                  </a:lnTo>
                  <a:lnTo>
                    <a:pt x="309" y="1623"/>
                  </a:lnTo>
                  <a:lnTo>
                    <a:pt x="283" y="1684"/>
                  </a:lnTo>
                  <a:lnTo>
                    <a:pt x="195" y="1702"/>
                  </a:lnTo>
                  <a:lnTo>
                    <a:pt x="159" y="1746"/>
                  </a:lnTo>
                  <a:lnTo>
                    <a:pt x="142" y="1808"/>
                  </a:lnTo>
                  <a:lnTo>
                    <a:pt x="150" y="1887"/>
                  </a:lnTo>
                  <a:lnTo>
                    <a:pt x="168" y="1949"/>
                  </a:lnTo>
                  <a:lnTo>
                    <a:pt x="115" y="1993"/>
                  </a:lnTo>
                  <a:lnTo>
                    <a:pt x="80" y="2055"/>
                  </a:lnTo>
                  <a:lnTo>
                    <a:pt x="0" y="2126"/>
                  </a:lnTo>
                  <a:lnTo>
                    <a:pt x="80" y="2179"/>
                  </a:lnTo>
                  <a:lnTo>
                    <a:pt x="98" y="2258"/>
                  </a:lnTo>
                  <a:lnTo>
                    <a:pt x="168" y="2337"/>
                  </a:lnTo>
                  <a:lnTo>
                    <a:pt x="248" y="2346"/>
                  </a:lnTo>
                  <a:lnTo>
                    <a:pt x="309" y="2284"/>
                  </a:lnTo>
                  <a:lnTo>
                    <a:pt x="353" y="2329"/>
                  </a:lnTo>
                  <a:lnTo>
                    <a:pt x="345" y="2417"/>
                  </a:lnTo>
                  <a:lnTo>
                    <a:pt x="380" y="2452"/>
                  </a:lnTo>
                  <a:lnTo>
                    <a:pt x="362" y="2523"/>
                  </a:lnTo>
                  <a:lnTo>
                    <a:pt x="415" y="2549"/>
                  </a:lnTo>
                  <a:lnTo>
                    <a:pt x="451" y="2496"/>
                  </a:lnTo>
                  <a:lnTo>
                    <a:pt x="539" y="2540"/>
                  </a:lnTo>
                  <a:lnTo>
                    <a:pt x="601" y="2584"/>
                  </a:lnTo>
                  <a:lnTo>
                    <a:pt x="671" y="2593"/>
                  </a:lnTo>
                  <a:lnTo>
                    <a:pt x="706" y="2655"/>
                  </a:lnTo>
                  <a:lnTo>
                    <a:pt x="768" y="2673"/>
                  </a:lnTo>
                  <a:lnTo>
                    <a:pt x="839" y="2681"/>
                  </a:lnTo>
                  <a:lnTo>
                    <a:pt x="918" y="2646"/>
                  </a:lnTo>
                  <a:lnTo>
                    <a:pt x="971" y="2611"/>
                  </a:lnTo>
                  <a:lnTo>
                    <a:pt x="1042" y="2611"/>
                  </a:lnTo>
                  <a:lnTo>
                    <a:pt x="1095" y="2681"/>
                  </a:lnTo>
                  <a:lnTo>
                    <a:pt x="1121" y="2611"/>
                  </a:lnTo>
                  <a:lnTo>
                    <a:pt x="1121" y="2505"/>
                  </a:lnTo>
                  <a:lnTo>
                    <a:pt x="1148" y="2381"/>
                  </a:lnTo>
                  <a:lnTo>
                    <a:pt x="1209" y="2329"/>
                  </a:lnTo>
                  <a:lnTo>
                    <a:pt x="1289" y="2311"/>
                  </a:lnTo>
                  <a:lnTo>
                    <a:pt x="1359" y="2329"/>
                  </a:lnTo>
                  <a:lnTo>
                    <a:pt x="1395" y="2364"/>
                  </a:lnTo>
                  <a:lnTo>
                    <a:pt x="1412" y="2434"/>
                  </a:lnTo>
                  <a:lnTo>
                    <a:pt x="1342" y="2496"/>
                  </a:lnTo>
                  <a:lnTo>
                    <a:pt x="1271" y="2540"/>
                  </a:lnTo>
                  <a:lnTo>
                    <a:pt x="1307" y="2584"/>
                  </a:lnTo>
                  <a:lnTo>
                    <a:pt x="1412" y="2602"/>
                  </a:lnTo>
                  <a:lnTo>
                    <a:pt x="1421" y="2540"/>
                  </a:lnTo>
                  <a:lnTo>
                    <a:pt x="1457" y="2496"/>
                  </a:lnTo>
                  <a:lnTo>
                    <a:pt x="1518" y="2487"/>
                  </a:lnTo>
                  <a:lnTo>
                    <a:pt x="1571" y="2443"/>
                  </a:lnTo>
                  <a:lnTo>
                    <a:pt x="1580" y="2364"/>
                  </a:lnTo>
                  <a:lnTo>
                    <a:pt x="1721" y="2373"/>
                  </a:lnTo>
                  <a:lnTo>
                    <a:pt x="1801" y="2381"/>
                  </a:lnTo>
                  <a:lnTo>
                    <a:pt x="1854" y="2337"/>
                  </a:lnTo>
                  <a:lnTo>
                    <a:pt x="1924" y="2276"/>
                  </a:lnTo>
                  <a:lnTo>
                    <a:pt x="2012" y="2187"/>
                  </a:lnTo>
                  <a:lnTo>
                    <a:pt x="2073" y="2099"/>
                  </a:lnTo>
                  <a:lnTo>
                    <a:pt x="2135" y="2055"/>
                  </a:lnTo>
                  <a:lnTo>
                    <a:pt x="2153" y="1993"/>
                  </a:lnTo>
                  <a:lnTo>
                    <a:pt x="2144" y="1905"/>
                  </a:lnTo>
                  <a:lnTo>
                    <a:pt x="2135" y="1826"/>
                  </a:lnTo>
                  <a:lnTo>
                    <a:pt x="2082" y="1781"/>
                  </a:lnTo>
                  <a:lnTo>
                    <a:pt x="2073" y="1711"/>
                  </a:lnTo>
                  <a:lnTo>
                    <a:pt x="2153" y="1711"/>
                  </a:lnTo>
                  <a:lnTo>
                    <a:pt x="2197" y="1773"/>
                  </a:lnTo>
                  <a:lnTo>
                    <a:pt x="2214" y="1834"/>
                  </a:lnTo>
                  <a:lnTo>
                    <a:pt x="2276" y="1852"/>
                  </a:lnTo>
                  <a:lnTo>
                    <a:pt x="2347" y="1799"/>
                  </a:lnTo>
                  <a:lnTo>
                    <a:pt x="2373" y="1746"/>
                  </a:lnTo>
                  <a:lnTo>
                    <a:pt x="2391" y="1658"/>
                  </a:lnTo>
                  <a:lnTo>
                    <a:pt x="2435" y="1614"/>
                  </a:lnTo>
                  <a:lnTo>
                    <a:pt x="2426" y="1552"/>
                  </a:lnTo>
                  <a:lnTo>
                    <a:pt x="2426" y="1473"/>
                  </a:lnTo>
                  <a:lnTo>
                    <a:pt x="2435" y="1402"/>
                  </a:lnTo>
                  <a:lnTo>
                    <a:pt x="2409" y="1331"/>
                  </a:lnTo>
                  <a:lnTo>
                    <a:pt x="2356" y="1331"/>
                  </a:lnTo>
                  <a:lnTo>
                    <a:pt x="2320" y="1279"/>
                  </a:lnTo>
                  <a:lnTo>
                    <a:pt x="2312" y="1226"/>
                  </a:lnTo>
                  <a:lnTo>
                    <a:pt x="2241" y="1234"/>
                  </a:lnTo>
                  <a:lnTo>
                    <a:pt x="2153" y="1234"/>
                  </a:lnTo>
                  <a:lnTo>
                    <a:pt x="2064" y="1217"/>
                  </a:lnTo>
                  <a:lnTo>
                    <a:pt x="2012" y="1164"/>
                  </a:lnTo>
                  <a:lnTo>
                    <a:pt x="1968" y="1120"/>
                  </a:lnTo>
                  <a:lnTo>
                    <a:pt x="2003" y="1040"/>
                  </a:lnTo>
                  <a:lnTo>
                    <a:pt x="1951" y="970"/>
                  </a:lnTo>
                  <a:lnTo>
                    <a:pt x="1968" y="899"/>
                  </a:lnTo>
                  <a:lnTo>
                    <a:pt x="1977" y="837"/>
                  </a:lnTo>
                  <a:lnTo>
                    <a:pt x="1924" y="776"/>
                  </a:lnTo>
                  <a:lnTo>
                    <a:pt x="1907" y="740"/>
                  </a:lnTo>
                  <a:lnTo>
                    <a:pt x="1898" y="696"/>
                  </a:lnTo>
                  <a:lnTo>
                    <a:pt x="1845" y="652"/>
                  </a:lnTo>
                  <a:lnTo>
                    <a:pt x="1792" y="626"/>
                  </a:lnTo>
                  <a:lnTo>
                    <a:pt x="1792" y="590"/>
                  </a:lnTo>
                  <a:lnTo>
                    <a:pt x="1748" y="528"/>
                  </a:lnTo>
                  <a:lnTo>
                    <a:pt x="1686" y="546"/>
                  </a:lnTo>
                  <a:lnTo>
                    <a:pt x="1615" y="546"/>
                  </a:lnTo>
                  <a:lnTo>
                    <a:pt x="1509" y="528"/>
                  </a:lnTo>
                  <a:lnTo>
                    <a:pt x="1474" y="590"/>
                  </a:lnTo>
                  <a:lnTo>
                    <a:pt x="1457" y="643"/>
                  </a:lnTo>
                  <a:lnTo>
                    <a:pt x="1395" y="652"/>
                  </a:lnTo>
                  <a:lnTo>
                    <a:pt x="1324" y="626"/>
                  </a:lnTo>
                  <a:lnTo>
                    <a:pt x="1262" y="643"/>
                  </a:lnTo>
                  <a:lnTo>
                    <a:pt x="1192" y="608"/>
                  </a:lnTo>
                  <a:lnTo>
                    <a:pt x="1121" y="546"/>
                  </a:lnTo>
                  <a:lnTo>
                    <a:pt x="1077" y="502"/>
                  </a:lnTo>
                  <a:lnTo>
                    <a:pt x="1059" y="449"/>
                  </a:lnTo>
                  <a:lnTo>
                    <a:pt x="1006" y="449"/>
                  </a:lnTo>
                  <a:lnTo>
                    <a:pt x="909" y="449"/>
                  </a:lnTo>
                  <a:lnTo>
                    <a:pt x="874" y="396"/>
                  </a:lnTo>
                  <a:lnTo>
                    <a:pt x="883" y="326"/>
                  </a:lnTo>
                  <a:lnTo>
                    <a:pt x="954" y="291"/>
                  </a:lnTo>
                  <a:lnTo>
                    <a:pt x="962" y="229"/>
                  </a:lnTo>
                  <a:lnTo>
                    <a:pt x="901" y="159"/>
                  </a:lnTo>
                  <a:lnTo>
                    <a:pt x="856" y="62"/>
                  </a:lnTo>
                  <a:lnTo>
                    <a:pt x="848" y="0"/>
                  </a:lnTo>
                  <a:lnTo>
                    <a:pt x="786" y="44"/>
                  </a:lnTo>
                  <a:lnTo>
                    <a:pt x="742" y="115"/>
                  </a:lnTo>
                  <a:lnTo>
                    <a:pt x="733" y="203"/>
                  </a:lnTo>
                  <a:lnTo>
                    <a:pt x="777" y="265"/>
                  </a:lnTo>
                  <a:lnTo>
                    <a:pt x="804" y="352"/>
                  </a:lnTo>
                  <a:lnTo>
                    <a:pt x="812" y="423"/>
                  </a:lnTo>
                  <a:lnTo>
                    <a:pt x="821" y="511"/>
                  </a:lnTo>
                  <a:lnTo>
                    <a:pt x="804" y="590"/>
                  </a:lnTo>
                  <a:lnTo>
                    <a:pt x="759" y="634"/>
                  </a:lnTo>
                  <a:lnTo>
                    <a:pt x="724" y="723"/>
                  </a:lnTo>
                  <a:lnTo>
                    <a:pt x="715" y="811"/>
                  </a:lnTo>
                  <a:lnTo>
                    <a:pt x="680" y="943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4" name="Freeform 19"/>
            <p:cNvSpPr>
              <a:spLocks noChangeArrowheads="1"/>
            </p:cNvSpPr>
            <p:nvPr/>
          </p:nvSpPr>
          <p:spPr bwMode="auto">
            <a:xfrm>
              <a:off x="3069643" y="3192290"/>
              <a:ext cx="879536" cy="755828"/>
            </a:xfrm>
            <a:custGeom>
              <a:avLst/>
              <a:gdLst/>
              <a:ahLst/>
              <a:cxnLst>
                <a:cxn ang="0">
                  <a:pos x="2920" y="18"/>
                </a:cxn>
                <a:cxn ang="0">
                  <a:pos x="2761" y="35"/>
                </a:cxn>
                <a:cxn ang="0">
                  <a:pos x="2611" y="203"/>
                </a:cxn>
                <a:cxn ang="0">
                  <a:pos x="2523" y="247"/>
                </a:cxn>
                <a:cxn ang="0">
                  <a:pos x="2523" y="459"/>
                </a:cxn>
                <a:cxn ang="0">
                  <a:pos x="2435" y="644"/>
                </a:cxn>
                <a:cxn ang="0">
                  <a:pos x="2285" y="618"/>
                </a:cxn>
                <a:cxn ang="0">
                  <a:pos x="2170" y="626"/>
                </a:cxn>
                <a:cxn ang="0">
                  <a:pos x="2241" y="838"/>
                </a:cxn>
                <a:cxn ang="0">
                  <a:pos x="2100" y="1032"/>
                </a:cxn>
                <a:cxn ang="0">
                  <a:pos x="1889" y="1226"/>
                </a:cxn>
                <a:cxn ang="0">
                  <a:pos x="1659" y="1288"/>
                </a:cxn>
                <a:cxn ang="0">
                  <a:pos x="1509" y="1385"/>
                </a:cxn>
                <a:cxn ang="0">
                  <a:pos x="1359" y="1385"/>
                </a:cxn>
                <a:cxn ang="0">
                  <a:pos x="1483" y="1209"/>
                </a:cxn>
                <a:cxn ang="0">
                  <a:pos x="1297" y="1174"/>
                </a:cxn>
                <a:cxn ang="0">
                  <a:pos x="1209" y="1456"/>
                </a:cxn>
                <a:cxn ang="0">
                  <a:pos x="1059" y="1456"/>
                </a:cxn>
                <a:cxn ang="0">
                  <a:pos x="856" y="1518"/>
                </a:cxn>
                <a:cxn ang="0">
                  <a:pos x="689" y="1429"/>
                </a:cxn>
                <a:cxn ang="0">
                  <a:pos x="503" y="1394"/>
                </a:cxn>
                <a:cxn ang="0">
                  <a:pos x="433" y="1262"/>
                </a:cxn>
                <a:cxn ang="0">
                  <a:pos x="336" y="1191"/>
                </a:cxn>
                <a:cxn ang="0">
                  <a:pos x="168" y="1024"/>
                </a:cxn>
                <a:cxn ang="0">
                  <a:pos x="9" y="1103"/>
                </a:cxn>
                <a:cxn ang="0">
                  <a:pos x="88" y="1235"/>
                </a:cxn>
                <a:cxn ang="0">
                  <a:pos x="0" y="1385"/>
                </a:cxn>
                <a:cxn ang="0">
                  <a:pos x="88" y="1509"/>
                </a:cxn>
                <a:cxn ang="0">
                  <a:pos x="265" y="1500"/>
                </a:cxn>
                <a:cxn ang="0">
                  <a:pos x="380" y="1491"/>
                </a:cxn>
                <a:cxn ang="0">
                  <a:pos x="415" y="1712"/>
                </a:cxn>
                <a:cxn ang="0">
                  <a:pos x="539" y="1809"/>
                </a:cxn>
                <a:cxn ang="0">
                  <a:pos x="724" y="1924"/>
                </a:cxn>
                <a:cxn ang="0">
                  <a:pos x="892" y="1765"/>
                </a:cxn>
                <a:cxn ang="0">
                  <a:pos x="1015" y="1765"/>
                </a:cxn>
                <a:cxn ang="0">
                  <a:pos x="1227" y="1888"/>
                </a:cxn>
                <a:cxn ang="0">
                  <a:pos x="1342" y="2038"/>
                </a:cxn>
                <a:cxn ang="0">
                  <a:pos x="1412" y="2268"/>
                </a:cxn>
                <a:cxn ang="0">
                  <a:pos x="1386" y="2435"/>
                </a:cxn>
                <a:cxn ang="0">
                  <a:pos x="1527" y="2550"/>
                </a:cxn>
                <a:cxn ang="0">
                  <a:pos x="1695" y="2603"/>
                </a:cxn>
                <a:cxn ang="0">
                  <a:pos x="1915" y="2612"/>
                </a:cxn>
                <a:cxn ang="0">
                  <a:pos x="1915" y="2374"/>
                </a:cxn>
                <a:cxn ang="0">
                  <a:pos x="2056" y="2259"/>
                </a:cxn>
                <a:cxn ang="0">
                  <a:pos x="2056" y="2091"/>
                </a:cxn>
                <a:cxn ang="0">
                  <a:pos x="2135" y="1932"/>
                </a:cxn>
                <a:cxn ang="0">
                  <a:pos x="2320" y="1950"/>
                </a:cxn>
                <a:cxn ang="0">
                  <a:pos x="2523" y="1809"/>
                </a:cxn>
                <a:cxn ang="0">
                  <a:pos x="2673" y="1632"/>
                </a:cxn>
                <a:cxn ang="0">
                  <a:pos x="2797" y="1641"/>
                </a:cxn>
                <a:cxn ang="0">
                  <a:pos x="2814" y="1438"/>
                </a:cxn>
                <a:cxn ang="0">
                  <a:pos x="2603" y="1324"/>
                </a:cxn>
                <a:cxn ang="0">
                  <a:pos x="2691" y="1085"/>
                </a:cxn>
                <a:cxn ang="0">
                  <a:pos x="2655" y="838"/>
                </a:cxn>
                <a:cxn ang="0">
                  <a:pos x="2920" y="635"/>
                </a:cxn>
                <a:cxn ang="0">
                  <a:pos x="3158" y="9"/>
                </a:cxn>
              </a:cxnLst>
              <a:rect l="0" t="0" r="r" b="b"/>
              <a:pathLst>
                <a:path w="3159" h="2683">
                  <a:moveTo>
                    <a:pt x="3026" y="18"/>
                  </a:moveTo>
                  <a:lnTo>
                    <a:pt x="2973" y="53"/>
                  </a:lnTo>
                  <a:lnTo>
                    <a:pt x="2920" y="18"/>
                  </a:lnTo>
                  <a:lnTo>
                    <a:pt x="2858" y="0"/>
                  </a:lnTo>
                  <a:lnTo>
                    <a:pt x="2832" y="71"/>
                  </a:lnTo>
                  <a:lnTo>
                    <a:pt x="2761" y="35"/>
                  </a:lnTo>
                  <a:lnTo>
                    <a:pt x="2717" y="106"/>
                  </a:lnTo>
                  <a:lnTo>
                    <a:pt x="2664" y="194"/>
                  </a:lnTo>
                  <a:lnTo>
                    <a:pt x="2611" y="203"/>
                  </a:lnTo>
                  <a:lnTo>
                    <a:pt x="2558" y="185"/>
                  </a:lnTo>
                  <a:lnTo>
                    <a:pt x="2497" y="176"/>
                  </a:lnTo>
                  <a:lnTo>
                    <a:pt x="2523" y="247"/>
                  </a:lnTo>
                  <a:lnTo>
                    <a:pt x="2514" y="318"/>
                  </a:lnTo>
                  <a:lnTo>
                    <a:pt x="2514" y="397"/>
                  </a:lnTo>
                  <a:lnTo>
                    <a:pt x="2523" y="459"/>
                  </a:lnTo>
                  <a:lnTo>
                    <a:pt x="2479" y="503"/>
                  </a:lnTo>
                  <a:lnTo>
                    <a:pt x="2461" y="591"/>
                  </a:lnTo>
                  <a:lnTo>
                    <a:pt x="2435" y="644"/>
                  </a:lnTo>
                  <a:lnTo>
                    <a:pt x="2364" y="697"/>
                  </a:lnTo>
                  <a:lnTo>
                    <a:pt x="2302" y="679"/>
                  </a:lnTo>
                  <a:lnTo>
                    <a:pt x="2285" y="618"/>
                  </a:lnTo>
                  <a:lnTo>
                    <a:pt x="2241" y="556"/>
                  </a:lnTo>
                  <a:lnTo>
                    <a:pt x="2161" y="556"/>
                  </a:lnTo>
                  <a:lnTo>
                    <a:pt x="2170" y="626"/>
                  </a:lnTo>
                  <a:lnTo>
                    <a:pt x="2223" y="671"/>
                  </a:lnTo>
                  <a:lnTo>
                    <a:pt x="2232" y="750"/>
                  </a:lnTo>
                  <a:lnTo>
                    <a:pt x="2241" y="838"/>
                  </a:lnTo>
                  <a:lnTo>
                    <a:pt x="2223" y="900"/>
                  </a:lnTo>
                  <a:lnTo>
                    <a:pt x="2161" y="944"/>
                  </a:lnTo>
                  <a:lnTo>
                    <a:pt x="2100" y="1032"/>
                  </a:lnTo>
                  <a:lnTo>
                    <a:pt x="2012" y="1121"/>
                  </a:lnTo>
                  <a:lnTo>
                    <a:pt x="1942" y="1182"/>
                  </a:lnTo>
                  <a:lnTo>
                    <a:pt x="1889" y="1226"/>
                  </a:lnTo>
                  <a:lnTo>
                    <a:pt x="1809" y="1218"/>
                  </a:lnTo>
                  <a:lnTo>
                    <a:pt x="1668" y="1209"/>
                  </a:lnTo>
                  <a:lnTo>
                    <a:pt x="1659" y="1288"/>
                  </a:lnTo>
                  <a:lnTo>
                    <a:pt x="1606" y="1332"/>
                  </a:lnTo>
                  <a:lnTo>
                    <a:pt x="1545" y="1341"/>
                  </a:lnTo>
                  <a:lnTo>
                    <a:pt x="1509" y="1385"/>
                  </a:lnTo>
                  <a:lnTo>
                    <a:pt x="1500" y="1447"/>
                  </a:lnTo>
                  <a:lnTo>
                    <a:pt x="1395" y="1429"/>
                  </a:lnTo>
                  <a:lnTo>
                    <a:pt x="1359" y="1385"/>
                  </a:lnTo>
                  <a:lnTo>
                    <a:pt x="1430" y="1341"/>
                  </a:lnTo>
                  <a:lnTo>
                    <a:pt x="1500" y="1279"/>
                  </a:lnTo>
                  <a:lnTo>
                    <a:pt x="1483" y="1209"/>
                  </a:lnTo>
                  <a:lnTo>
                    <a:pt x="1447" y="1174"/>
                  </a:lnTo>
                  <a:lnTo>
                    <a:pt x="1377" y="1156"/>
                  </a:lnTo>
                  <a:lnTo>
                    <a:pt x="1297" y="1174"/>
                  </a:lnTo>
                  <a:lnTo>
                    <a:pt x="1236" y="1226"/>
                  </a:lnTo>
                  <a:lnTo>
                    <a:pt x="1209" y="1350"/>
                  </a:lnTo>
                  <a:lnTo>
                    <a:pt x="1209" y="1456"/>
                  </a:lnTo>
                  <a:lnTo>
                    <a:pt x="1183" y="1526"/>
                  </a:lnTo>
                  <a:lnTo>
                    <a:pt x="1130" y="1456"/>
                  </a:lnTo>
                  <a:lnTo>
                    <a:pt x="1059" y="1456"/>
                  </a:lnTo>
                  <a:lnTo>
                    <a:pt x="1006" y="1491"/>
                  </a:lnTo>
                  <a:lnTo>
                    <a:pt x="927" y="1526"/>
                  </a:lnTo>
                  <a:lnTo>
                    <a:pt x="856" y="1518"/>
                  </a:lnTo>
                  <a:lnTo>
                    <a:pt x="794" y="1500"/>
                  </a:lnTo>
                  <a:lnTo>
                    <a:pt x="759" y="1438"/>
                  </a:lnTo>
                  <a:lnTo>
                    <a:pt x="689" y="1429"/>
                  </a:lnTo>
                  <a:lnTo>
                    <a:pt x="627" y="1385"/>
                  </a:lnTo>
                  <a:lnTo>
                    <a:pt x="539" y="1341"/>
                  </a:lnTo>
                  <a:lnTo>
                    <a:pt x="503" y="1394"/>
                  </a:lnTo>
                  <a:lnTo>
                    <a:pt x="450" y="1368"/>
                  </a:lnTo>
                  <a:lnTo>
                    <a:pt x="468" y="1297"/>
                  </a:lnTo>
                  <a:lnTo>
                    <a:pt x="433" y="1262"/>
                  </a:lnTo>
                  <a:lnTo>
                    <a:pt x="441" y="1174"/>
                  </a:lnTo>
                  <a:lnTo>
                    <a:pt x="397" y="1129"/>
                  </a:lnTo>
                  <a:lnTo>
                    <a:pt x="336" y="1191"/>
                  </a:lnTo>
                  <a:lnTo>
                    <a:pt x="256" y="1182"/>
                  </a:lnTo>
                  <a:lnTo>
                    <a:pt x="186" y="1103"/>
                  </a:lnTo>
                  <a:lnTo>
                    <a:pt x="168" y="1024"/>
                  </a:lnTo>
                  <a:lnTo>
                    <a:pt x="88" y="971"/>
                  </a:lnTo>
                  <a:lnTo>
                    <a:pt x="27" y="1050"/>
                  </a:lnTo>
                  <a:lnTo>
                    <a:pt x="9" y="1103"/>
                  </a:lnTo>
                  <a:lnTo>
                    <a:pt x="44" y="1165"/>
                  </a:lnTo>
                  <a:lnTo>
                    <a:pt x="88" y="1174"/>
                  </a:lnTo>
                  <a:lnTo>
                    <a:pt x="88" y="1235"/>
                  </a:lnTo>
                  <a:lnTo>
                    <a:pt x="62" y="1279"/>
                  </a:lnTo>
                  <a:lnTo>
                    <a:pt x="35" y="1332"/>
                  </a:lnTo>
                  <a:lnTo>
                    <a:pt x="0" y="1385"/>
                  </a:lnTo>
                  <a:lnTo>
                    <a:pt x="9" y="1456"/>
                  </a:lnTo>
                  <a:lnTo>
                    <a:pt x="27" y="1526"/>
                  </a:lnTo>
                  <a:lnTo>
                    <a:pt x="88" y="1509"/>
                  </a:lnTo>
                  <a:lnTo>
                    <a:pt x="150" y="1482"/>
                  </a:lnTo>
                  <a:lnTo>
                    <a:pt x="203" y="1518"/>
                  </a:lnTo>
                  <a:lnTo>
                    <a:pt x="265" y="1500"/>
                  </a:lnTo>
                  <a:lnTo>
                    <a:pt x="309" y="1456"/>
                  </a:lnTo>
                  <a:lnTo>
                    <a:pt x="344" y="1438"/>
                  </a:lnTo>
                  <a:lnTo>
                    <a:pt x="380" y="1491"/>
                  </a:lnTo>
                  <a:lnTo>
                    <a:pt x="415" y="1588"/>
                  </a:lnTo>
                  <a:lnTo>
                    <a:pt x="371" y="1641"/>
                  </a:lnTo>
                  <a:lnTo>
                    <a:pt x="415" y="1712"/>
                  </a:lnTo>
                  <a:lnTo>
                    <a:pt x="459" y="1765"/>
                  </a:lnTo>
                  <a:lnTo>
                    <a:pt x="477" y="1809"/>
                  </a:lnTo>
                  <a:lnTo>
                    <a:pt x="539" y="1809"/>
                  </a:lnTo>
                  <a:lnTo>
                    <a:pt x="636" y="1835"/>
                  </a:lnTo>
                  <a:lnTo>
                    <a:pt x="653" y="1888"/>
                  </a:lnTo>
                  <a:lnTo>
                    <a:pt x="724" y="1924"/>
                  </a:lnTo>
                  <a:lnTo>
                    <a:pt x="803" y="1888"/>
                  </a:lnTo>
                  <a:lnTo>
                    <a:pt x="874" y="1826"/>
                  </a:lnTo>
                  <a:lnTo>
                    <a:pt x="892" y="1765"/>
                  </a:lnTo>
                  <a:lnTo>
                    <a:pt x="944" y="1747"/>
                  </a:lnTo>
                  <a:lnTo>
                    <a:pt x="980" y="1703"/>
                  </a:lnTo>
                  <a:lnTo>
                    <a:pt x="1015" y="1765"/>
                  </a:lnTo>
                  <a:lnTo>
                    <a:pt x="1077" y="1809"/>
                  </a:lnTo>
                  <a:lnTo>
                    <a:pt x="1200" y="1826"/>
                  </a:lnTo>
                  <a:lnTo>
                    <a:pt x="1227" y="1888"/>
                  </a:lnTo>
                  <a:lnTo>
                    <a:pt x="1227" y="1959"/>
                  </a:lnTo>
                  <a:lnTo>
                    <a:pt x="1271" y="2003"/>
                  </a:lnTo>
                  <a:lnTo>
                    <a:pt x="1342" y="2038"/>
                  </a:lnTo>
                  <a:lnTo>
                    <a:pt x="1350" y="2118"/>
                  </a:lnTo>
                  <a:lnTo>
                    <a:pt x="1395" y="2206"/>
                  </a:lnTo>
                  <a:lnTo>
                    <a:pt x="1412" y="2268"/>
                  </a:lnTo>
                  <a:lnTo>
                    <a:pt x="1377" y="2321"/>
                  </a:lnTo>
                  <a:lnTo>
                    <a:pt x="1333" y="2400"/>
                  </a:lnTo>
                  <a:lnTo>
                    <a:pt x="1386" y="2435"/>
                  </a:lnTo>
                  <a:lnTo>
                    <a:pt x="1483" y="2427"/>
                  </a:lnTo>
                  <a:lnTo>
                    <a:pt x="1527" y="2479"/>
                  </a:lnTo>
                  <a:lnTo>
                    <a:pt x="1527" y="2550"/>
                  </a:lnTo>
                  <a:lnTo>
                    <a:pt x="1597" y="2559"/>
                  </a:lnTo>
                  <a:lnTo>
                    <a:pt x="1624" y="2612"/>
                  </a:lnTo>
                  <a:lnTo>
                    <a:pt x="1695" y="2603"/>
                  </a:lnTo>
                  <a:lnTo>
                    <a:pt x="1748" y="2674"/>
                  </a:lnTo>
                  <a:lnTo>
                    <a:pt x="1862" y="2682"/>
                  </a:lnTo>
                  <a:lnTo>
                    <a:pt x="1915" y="2612"/>
                  </a:lnTo>
                  <a:lnTo>
                    <a:pt x="1889" y="2541"/>
                  </a:lnTo>
                  <a:lnTo>
                    <a:pt x="1933" y="2462"/>
                  </a:lnTo>
                  <a:lnTo>
                    <a:pt x="1915" y="2374"/>
                  </a:lnTo>
                  <a:lnTo>
                    <a:pt x="1933" y="2329"/>
                  </a:lnTo>
                  <a:lnTo>
                    <a:pt x="1995" y="2312"/>
                  </a:lnTo>
                  <a:lnTo>
                    <a:pt x="2056" y="2259"/>
                  </a:lnTo>
                  <a:lnTo>
                    <a:pt x="2091" y="2188"/>
                  </a:lnTo>
                  <a:lnTo>
                    <a:pt x="2039" y="2153"/>
                  </a:lnTo>
                  <a:lnTo>
                    <a:pt x="2056" y="2091"/>
                  </a:lnTo>
                  <a:lnTo>
                    <a:pt x="2039" y="2021"/>
                  </a:lnTo>
                  <a:lnTo>
                    <a:pt x="2082" y="1985"/>
                  </a:lnTo>
                  <a:lnTo>
                    <a:pt x="2135" y="1932"/>
                  </a:lnTo>
                  <a:lnTo>
                    <a:pt x="2179" y="1897"/>
                  </a:lnTo>
                  <a:lnTo>
                    <a:pt x="2250" y="1924"/>
                  </a:lnTo>
                  <a:lnTo>
                    <a:pt x="2320" y="1950"/>
                  </a:lnTo>
                  <a:lnTo>
                    <a:pt x="2400" y="1924"/>
                  </a:lnTo>
                  <a:lnTo>
                    <a:pt x="2479" y="1879"/>
                  </a:lnTo>
                  <a:lnTo>
                    <a:pt x="2523" y="1809"/>
                  </a:lnTo>
                  <a:lnTo>
                    <a:pt x="2576" y="1756"/>
                  </a:lnTo>
                  <a:lnTo>
                    <a:pt x="2603" y="1712"/>
                  </a:lnTo>
                  <a:lnTo>
                    <a:pt x="2673" y="1632"/>
                  </a:lnTo>
                  <a:lnTo>
                    <a:pt x="2717" y="1694"/>
                  </a:lnTo>
                  <a:lnTo>
                    <a:pt x="2797" y="1712"/>
                  </a:lnTo>
                  <a:lnTo>
                    <a:pt x="2797" y="1641"/>
                  </a:lnTo>
                  <a:lnTo>
                    <a:pt x="2788" y="1562"/>
                  </a:lnTo>
                  <a:lnTo>
                    <a:pt x="2850" y="1518"/>
                  </a:lnTo>
                  <a:lnTo>
                    <a:pt x="2814" y="1438"/>
                  </a:lnTo>
                  <a:lnTo>
                    <a:pt x="2779" y="1403"/>
                  </a:lnTo>
                  <a:lnTo>
                    <a:pt x="2691" y="1368"/>
                  </a:lnTo>
                  <a:lnTo>
                    <a:pt x="2603" y="1324"/>
                  </a:lnTo>
                  <a:lnTo>
                    <a:pt x="2647" y="1271"/>
                  </a:lnTo>
                  <a:lnTo>
                    <a:pt x="2691" y="1165"/>
                  </a:lnTo>
                  <a:lnTo>
                    <a:pt x="2691" y="1085"/>
                  </a:lnTo>
                  <a:lnTo>
                    <a:pt x="2655" y="1015"/>
                  </a:lnTo>
                  <a:lnTo>
                    <a:pt x="2638" y="926"/>
                  </a:lnTo>
                  <a:lnTo>
                    <a:pt x="2655" y="838"/>
                  </a:lnTo>
                  <a:lnTo>
                    <a:pt x="2726" y="768"/>
                  </a:lnTo>
                  <a:lnTo>
                    <a:pt x="2832" y="697"/>
                  </a:lnTo>
                  <a:lnTo>
                    <a:pt x="2920" y="635"/>
                  </a:lnTo>
                  <a:lnTo>
                    <a:pt x="2964" y="556"/>
                  </a:lnTo>
                  <a:lnTo>
                    <a:pt x="2956" y="468"/>
                  </a:lnTo>
                  <a:lnTo>
                    <a:pt x="3158" y="9"/>
                  </a:lnTo>
                  <a:lnTo>
                    <a:pt x="3097" y="18"/>
                  </a:lnTo>
                  <a:lnTo>
                    <a:pt x="3026" y="18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5" name="Freeform 21"/>
            <p:cNvSpPr>
              <a:spLocks noChangeArrowheads="1"/>
            </p:cNvSpPr>
            <p:nvPr/>
          </p:nvSpPr>
          <p:spPr bwMode="auto">
            <a:xfrm>
              <a:off x="3595142" y="3403478"/>
              <a:ext cx="1071638" cy="662143"/>
            </a:xfrm>
            <a:custGeom>
              <a:avLst/>
              <a:gdLst/>
              <a:ahLst/>
              <a:cxnLst>
                <a:cxn ang="0">
                  <a:pos x="44" y="1712"/>
                </a:cxn>
                <a:cxn ang="0">
                  <a:pos x="106" y="1562"/>
                </a:cxn>
                <a:cxn ang="0">
                  <a:pos x="150" y="1403"/>
                </a:cxn>
                <a:cxn ang="0">
                  <a:pos x="193" y="1235"/>
                </a:cxn>
                <a:cxn ang="0">
                  <a:pos x="361" y="1174"/>
                </a:cxn>
                <a:cxn ang="0">
                  <a:pos x="590" y="1129"/>
                </a:cxn>
                <a:cxn ang="0">
                  <a:pos x="714" y="962"/>
                </a:cxn>
                <a:cxn ang="0">
                  <a:pos x="908" y="962"/>
                </a:cxn>
                <a:cxn ang="0">
                  <a:pos x="961" y="768"/>
                </a:cxn>
                <a:cxn ang="0">
                  <a:pos x="802" y="618"/>
                </a:cxn>
                <a:cxn ang="0">
                  <a:pos x="802" y="415"/>
                </a:cxn>
                <a:cxn ang="0">
                  <a:pos x="749" y="176"/>
                </a:cxn>
                <a:cxn ang="0">
                  <a:pos x="916" y="247"/>
                </a:cxn>
                <a:cxn ang="0">
                  <a:pos x="1049" y="335"/>
                </a:cxn>
                <a:cxn ang="0">
                  <a:pos x="1287" y="221"/>
                </a:cxn>
                <a:cxn ang="0">
                  <a:pos x="1508" y="176"/>
                </a:cxn>
                <a:cxn ang="0">
                  <a:pos x="1746" y="168"/>
                </a:cxn>
                <a:cxn ang="0">
                  <a:pos x="2011" y="132"/>
                </a:cxn>
                <a:cxn ang="0">
                  <a:pos x="2284" y="115"/>
                </a:cxn>
                <a:cxn ang="0">
                  <a:pos x="2558" y="115"/>
                </a:cxn>
                <a:cxn ang="0">
                  <a:pos x="2893" y="88"/>
                </a:cxn>
                <a:cxn ang="0">
                  <a:pos x="3167" y="0"/>
                </a:cxn>
                <a:cxn ang="0">
                  <a:pos x="3502" y="79"/>
                </a:cxn>
                <a:cxn ang="0">
                  <a:pos x="3661" y="185"/>
                </a:cxn>
                <a:cxn ang="0">
                  <a:pos x="3846" y="256"/>
                </a:cxn>
                <a:cxn ang="0">
                  <a:pos x="3758" y="406"/>
                </a:cxn>
                <a:cxn ang="0">
                  <a:pos x="3635" y="538"/>
                </a:cxn>
                <a:cxn ang="0">
                  <a:pos x="3564" y="688"/>
                </a:cxn>
                <a:cxn ang="0">
                  <a:pos x="3396" y="785"/>
                </a:cxn>
                <a:cxn ang="0">
                  <a:pos x="3114" y="882"/>
                </a:cxn>
                <a:cxn ang="0">
                  <a:pos x="2867" y="1041"/>
                </a:cxn>
                <a:cxn ang="0">
                  <a:pos x="2699" y="1235"/>
                </a:cxn>
                <a:cxn ang="0">
                  <a:pos x="2505" y="1447"/>
                </a:cxn>
                <a:cxn ang="0">
                  <a:pos x="2328" y="1606"/>
                </a:cxn>
                <a:cxn ang="0">
                  <a:pos x="2037" y="1765"/>
                </a:cxn>
                <a:cxn ang="0">
                  <a:pos x="1746" y="1924"/>
                </a:cxn>
                <a:cxn ang="0">
                  <a:pos x="1367" y="2197"/>
                </a:cxn>
                <a:cxn ang="0">
                  <a:pos x="1137" y="2153"/>
                </a:cxn>
                <a:cxn ang="0">
                  <a:pos x="855" y="2294"/>
                </a:cxn>
                <a:cxn ang="0">
                  <a:pos x="652" y="2268"/>
                </a:cxn>
                <a:cxn ang="0">
                  <a:pos x="440" y="2347"/>
                </a:cxn>
                <a:cxn ang="0">
                  <a:pos x="246" y="2135"/>
                </a:cxn>
                <a:cxn ang="0">
                  <a:pos x="26" y="1862"/>
                </a:cxn>
              </a:cxnLst>
              <a:rect l="0" t="0" r="r" b="b"/>
              <a:pathLst>
                <a:path w="3847" h="2348">
                  <a:moveTo>
                    <a:pt x="26" y="1862"/>
                  </a:moveTo>
                  <a:lnTo>
                    <a:pt x="0" y="1791"/>
                  </a:lnTo>
                  <a:lnTo>
                    <a:pt x="44" y="1712"/>
                  </a:lnTo>
                  <a:lnTo>
                    <a:pt x="26" y="1624"/>
                  </a:lnTo>
                  <a:lnTo>
                    <a:pt x="44" y="1579"/>
                  </a:lnTo>
                  <a:lnTo>
                    <a:pt x="106" y="1562"/>
                  </a:lnTo>
                  <a:lnTo>
                    <a:pt x="167" y="1509"/>
                  </a:lnTo>
                  <a:lnTo>
                    <a:pt x="202" y="1438"/>
                  </a:lnTo>
                  <a:lnTo>
                    <a:pt x="150" y="1403"/>
                  </a:lnTo>
                  <a:lnTo>
                    <a:pt x="167" y="1341"/>
                  </a:lnTo>
                  <a:lnTo>
                    <a:pt x="150" y="1271"/>
                  </a:lnTo>
                  <a:lnTo>
                    <a:pt x="193" y="1235"/>
                  </a:lnTo>
                  <a:lnTo>
                    <a:pt x="246" y="1182"/>
                  </a:lnTo>
                  <a:lnTo>
                    <a:pt x="290" y="1147"/>
                  </a:lnTo>
                  <a:lnTo>
                    <a:pt x="361" y="1174"/>
                  </a:lnTo>
                  <a:lnTo>
                    <a:pt x="431" y="1200"/>
                  </a:lnTo>
                  <a:lnTo>
                    <a:pt x="511" y="1174"/>
                  </a:lnTo>
                  <a:lnTo>
                    <a:pt x="590" y="1129"/>
                  </a:lnTo>
                  <a:lnTo>
                    <a:pt x="634" y="1059"/>
                  </a:lnTo>
                  <a:lnTo>
                    <a:pt x="687" y="1006"/>
                  </a:lnTo>
                  <a:lnTo>
                    <a:pt x="714" y="962"/>
                  </a:lnTo>
                  <a:lnTo>
                    <a:pt x="784" y="882"/>
                  </a:lnTo>
                  <a:lnTo>
                    <a:pt x="828" y="944"/>
                  </a:lnTo>
                  <a:lnTo>
                    <a:pt x="908" y="962"/>
                  </a:lnTo>
                  <a:lnTo>
                    <a:pt x="908" y="891"/>
                  </a:lnTo>
                  <a:lnTo>
                    <a:pt x="899" y="812"/>
                  </a:lnTo>
                  <a:lnTo>
                    <a:pt x="961" y="768"/>
                  </a:lnTo>
                  <a:lnTo>
                    <a:pt x="925" y="688"/>
                  </a:lnTo>
                  <a:lnTo>
                    <a:pt x="890" y="653"/>
                  </a:lnTo>
                  <a:lnTo>
                    <a:pt x="802" y="618"/>
                  </a:lnTo>
                  <a:lnTo>
                    <a:pt x="714" y="574"/>
                  </a:lnTo>
                  <a:lnTo>
                    <a:pt x="758" y="521"/>
                  </a:lnTo>
                  <a:lnTo>
                    <a:pt x="802" y="415"/>
                  </a:lnTo>
                  <a:lnTo>
                    <a:pt x="802" y="335"/>
                  </a:lnTo>
                  <a:lnTo>
                    <a:pt x="766" y="265"/>
                  </a:lnTo>
                  <a:lnTo>
                    <a:pt x="749" y="176"/>
                  </a:lnTo>
                  <a:lnTo>
                    <a:pt x="837" y="168"/>
                  </a:lnTo>
                  <a:lnTo>
                    <a:pt x="899" y="185"/>
                  </a:lnTo>
                  <a:lnTo>
                    <a:pt x="916" y="247"/>
                  </a:lnTo>
                  <a:lnTo>
                    <a:pt x="952" y="300"/>
                  </a:lnTo>
                  <a:lnTo>
                    <a:pt x="1005" y="291"/>
                  </a:lnTo>
                  <a:lnTo>
                    <a:pt x="1049" y="335"/>
                  </a:lnTo>
                  <a:lnTo>
                    <a:pt x="1128" y="291"/>
                  </a:lnTo>
                  <a:lnTo>
                    <a:pt x="1217" y="247"/>
                  </a:lnTo>
                  <a:lnTo>
                    <a:pt x="1287" y="221"/>
                  </a:lnTo>
                  <a:lnTo>
                    <a:pt x="1402" y="221"/>
                  </a:lnTo>
                  <a:lnTo>
                    <a:pt x="1428" y="176"/>
                  </a:lnTo>
                  <a:lnTo>
                    <a:pt x="1508" y="176"/>
                  </a:lnTo>
                  <a:lnTo>
                    <a:pt x="1578" y="141"/>
                  </a:lnTo>
                  <a:lnTo>
                    <a:pt x="1684" y="141"/>
                  </a:lnTo>
                  <a:lnTo>
                    <a:pt x="1746" y="168"/>
                  </a:lnTo>
                  <a:lnTo>
                    <a:pt x="1861" y="168"/>
                  </a:lnTo>
                  <a:lnTo>
                    <a:pt x="1923" y="124"/>
                  </a:lnTo>
                  <a:lnTo>
                    <a:pt x="2011" y="132"/>
                  </a:lnTo>
                  <a:lnTo>
                    <a:pt x="2099" y="97"/>
                  </a:lnTo>
                  <a:lnTo>
                    <a:pt x="2178" y="53"/>
                  </a:lnTo>
                  <a:lnTo>
                    <a:pt x="2284" y="115"/>
                  </a:lnTo>
                  <a:lnTo>
                    <a:pt x="2364" y="79"/>
                  </a:lnTo>
                  <a:lnTo>
                    <a:pt x="2461" y="97"/>
                  </a:lnTo>
                  <a:lnTo>
                    <a:pt x="2558" y="115"/>
                  </a:lnTo>
                  <a:lnTo>
                    <a:pt x="2690" y="97"/>
                  </a:lnTo>
                  <a:lnTo>
                    <a:pt x="2814" y="124"/>
                  </a:lnTo>
                  <a:lnTo>
                    <a:pt x="2893" y="88"/>
                  </a:lnTo>
                  <a:lnTo>
                    <a:pt x="2981" y="115"/>
                  </a:lnTo>
                  <a:lnTo>
                    <a:pt x="3079" y="44"/>
                  </a:lnTo>
                  <a:lnTo>
                    <a:pt x="3167" y="0"/>
                  </a:lnTo>
                  <a:lnTo>
                    <a:pt x="3299" y="44"/>
                  </a:lnTo>
                  <a:lnTo>
                    <a:pt x="3387" y="35"/>
                  </a:lnTo>
                  <a:lnTo>
                    <a:pt x="3502" y="79"/>
                  </a:lnTo>
                  <a:lnTo>
                    <a:pt x="3555" y="132"/>
                  </a:lnTo>
                  <a:lnTo>
                    <a:pt x="3590" y="185"/>
                  </a:lnTo>
                  <a:lnTo>
                    <a:pt x="3661" y="185"/>
                  </a:lnTo>
                  <a:lnTo>
                    <a:pt x="3732" y="221"/>
                  </a:lnTo>
                  <a:lnTo>
                    <a:pt x="3758" y="265"/>
                  </a:lnTo>
                  <a:lnTo>
                    <a:pt x="3846" y="256"/>
                  </a:lnTo>
                  <a:lnTo>
                    <a:pt x="3838" y="309"/>
                  </a:lnTo>
                  <a:lnTo>
                    <a:pt x="3785" y="335"/>
                  </a:lnTo>
                  <a:lnTo>
                    <a:pt x="3758" y="406"/>
                  </a:lnTo>
                  <a:lnTo>
                    <a:pt x="3696" y="441"/>
                  </a:lnTo>
                  <a:lnTo>
                    <a:pt x="3679" y="494"/>
                  </a:lnTo>
                  <a:lnTo>
                    <a:pt x="3635" y="538"/>
                  </a:lnTo>
                  <a:lnTo>
                    <a:pt x="3635" y="591"/>
                  </a:lnTo>
                  <a:lnTo>
                    <a:pt x="3573" y="635"/>
                  </a:lnTo>
                  <a:lnTo>
                    <a:pt x="3564" y="688"/>
                  </a:lnTo>
                  <a:lnTo>
                    <a:pt x="3502" y="732"/>
                  </a:lnTo>
                  <a:lnTo>
                    <a:pt x="3476" y="776"/>
                  </a:lnTo>
                  <a:lnTo>
                    <a:pt x="3396" y="785"/>
                  </a:lnTo>
                  <a:lnTo>
                    <a:pt x="3326" y="812"/>
                  </a:lnTo>
                  <a:lnTo>
                    <a:pt x="3220" y="812"/>
                  </a:lnTo>
                  <a:lnTo>
                    <a:pt x="3114" y="882"/>
                  </a:lnTo>
                  <a:lnTo>
                    <a:pt x="3017" y="944"/>
                  </a:lnTo>
                  <a:lnTo>
                    <a:pt x="2946" y="988"/>
                  </a:lnTo>
                  <a:lnTo>
                    <a:pt x="2867" y="1041"/>
                  </a:lnTo>
                  <a:lnTo>
                    <a:pt x="2840" y="1138"/>
                  </a:lnTo>
                  <a:lnTo>
                    <a:pt x="2787" y="1182"/>
                  </a:lnTo>
                  <a:lnTo>
                    <a:pt x="2699" y="1235"/>
                  </a:lnTo>
                  <a:lnTo>
                    <a:pt x="2629" y="1288"/>
                  </a:lnTo>
                  <a:lnTo>
                    <a:pt x="2549" y="1332"/>
                  </a:lnTo>
                  <a:lnTo>
                    <a:pt x="2505" y="1447"/>
                  </a:lnTo>
                  <a:lnTo>
                    <a:pt x="2461" y="1527"/>
                  </a:lnTo>
                  <a:lnTo>
                    <a:pt x="2417" y="1579"/>
                  </a:lnTo>
                  <a:lnTo>
                    <a:pt x="2328" y="1606"/>
                  </a:lnTo>
                  <a:lnTo>
                    <a:pt x="2284" y="1668"/>
                  </a:lnTo>
                  <a:lnTo>
                    <a:pt x="2170" y="1694"/>
                  </a:lnTo>
                  <a:lnTo>
                    <a:pt x="2037" y="1765"/>
                  </a:lnTo>
                  <a:lnTo>
                    <a:pt x="1940" y="1818"/>
                  </a:lnTo>
                  <a:lnTo>
                    <a:pt x="1772" y="1853"/>
                  </a:lnTo>
                  <a:lnTo>
                    <a:pt x="1746" y="1924"/>
                  </a:lnTo>
                  <a:lnTo>
                    <a:pt x="1658" y="1950"/>
                  </a:lnTo>
                  <a:lnTo>
                    <a:pt x="1543" y="1985"/>
                  </a:lnTo>
                  <a:lnTo>
                    <a:pt x="1367" y="2197"/>
                  </a:lnTo>
                  <a:lnTo>
                    <a:pt x="1287" y="2224"/>
                  </a:lnTo>
                  <a:lnTo>
                    <a:pt x="1225" y="2197"/>
                  </a:lnTo>
                  <a:lnTo>
                    <a:pt x="1137" y="2153"/>
                  </a:lnTo>
                  <a:lnTo>
                    <a:pt x="1031" y="2162"/>
                  </a:lnTo>
                  <a:lnTo>
                    <a:pt x="952" y="2206"/>
                  </a:lnTo>
                  <a:lnTo>
                    <a:pt x="855" y="2294"/>
                  </a:lnTo>
                  <a:lnTo>
                    <a:pt x="793" y="2268"/>
                  </a:lnTo>
                  <a:lnTo>
                    <a:pt x="731" y="2294"/>
                  </a:lnTo>
                  <a:lnTo>
                    <a:pt x="652" y="2268"/>
                  </a:lnTo>
                  <a:lnTo>
                    <a:pt x="581" y="2329"/>
                  </a:lnTo>
                  <a:lnTo>
                    <a:pt x="511" y="2303"/>
                  </a:lnTo>
                  <a:lnTo>
                    <a:pt x="440" y="2347"/>
                  </a:lnTo>
                  <a:lnTo>
                    <a:pt x="387" y="2285"/>
                  </a:lnTo>
                  <a:lnTo>
                    <a:pt x="343" y="2215"/>
                  </a:lnTo>
                  <a:lnTo>
                    <a:pt x="246" y="2135"/>
                  </a:lnTo>
                  <a:lnTo>
                    <a:pt x="150" y="2029"/>
                  </a:lnTo>
                  <a:lnTo>
                    <a:pt x="79" y="1950"/>
                  </a:lnTo>
                  <a:lnTo>
                    <a:pt x="26" y="1862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6" name="Freeform 22"/>
            <p:cNvSpPr>
              <a:spLocks noChangeArrowheads="1"/>
            </p:cNvSpPr>
            <p:nvPr/>
          </p:nvSpPr>
          <p:spPr bwMode="auto">
            <a:xfrm>
              <a:off x="3007726" y="3849670"/>
              <a:ext cx="1276439" cy="1062288"/>
            </a:xfrm>
            <a:custGeom>
              <a:avLst/>
              <a:gdLst/>
              <a:ahLst/>
              <a:cxnLst>
                <a:cxn ang="0">
                  <a:pos x="4535" y="2277"/>
                </a:cxn>
                <a:cxn ang="0">
                  <a:pos x="4349" y="2268"/>
                </a:cxn>
                <a:cxn ang="0">
                  <a:pos x="4243" y="2268"/>
                </a:cxn>
                <a:cxn ang="0">
                  <a:pos x="4093" y="2295"/>
                </a:cxn>
                <a:cxn ang="0">
                  <a:pos x="3899" y="2312"/>
                </a:cxn>
                <a:cxn ang="0">
                  <a:pos x="3705" y="2330"/>
                </a:cxn>
                <a:cxn ang="0">
                  <a:pos x="3387" y="2374"/>
                </a:cxn>
                <a:cxn ang="0">
                  <a:pos x="3246" y="2348"/>
                </a:cxn>
                <a:cxn ang="0">
                  <a:pos x="3123" y="2418"/>
                </a:cxn>
                <a:cxn ang="0">
                  <a:pos x="2867" y="2480"/>
                </a:cxn>
                <a:cxn ang="0">
                  <a:pos x="2787" y="2595"/>
                </a:cxn>
                <a:cxn ang="0">
                  <a:pos x="2549" y="2630"/>
                </a:cxn>
                <a:cxn ang="0">
                  <a:pos x="2372" y="2709"/>
                </a:cxn>
                <a:cxn ang="0">
                  <a:pos x="2276" y="2806"/>
                </a:cxn>
                <a:cxn ang="0">
                  <a:pos x="2082" y="2877"/>
                </a:cxn>
                <a:cxn ang="0">
                  <a:pos x="1906" y="2903"/>
                </a:cxn>
                <a:cxn ang="0">
                  <a:pos x="1676" y="2921"/>
                </a:cxn>
                <a:cxn ang="0">
                  <a:pos x="1579" y="3715"/>
                </a:cxn>
                <a:cxn ang="0">
                  <a:pos x="1200" y="3768"/>
                </a:cxn>
                <a:cxn ang="0">
                  <a:pos x="961" y="3645"/>
                </a:cxn>
                <a:cxn ang="0">
                  <a:pos x="706" y="3539"/>
                </a:cxn>
                <a:cxn ang="0">
                  <a:pos x="467" y="3424"/>
                </a:cxn>
                <a:cxn ang="0">
                  <a:pos x="406" y="3159"/>
                </a:cxn>
                <a:cxn ang="0">
                  <a:pos x="326" y="2868"/>
                </a:cxn>
                <a:cxn ang="0">
                  <a:pos x="406" y="2612"/>
                </a:cxn>
                <a:cxn ang="0">
                  <a:pos x="211" y="2374"/>
                </a:cxn>
                <a:cxn ang="0">
                  <a:pos x="26" y="2268"/>
                </a:cxn>
                <a:cxn ang="0">
                  <a:pos x="308" y="1977"/>
                </a:cxn>
                <a:cxn ang="0">
                  <a:pos x="344" y="1748"/>
                </a:cxn>
                <a:cxn ang="0">
                  <a:pos x="441" y="1571"/>
                </a:cxn>
                <a:cxn ang="0">
                  <a:pos x="582" y="1448"/>
                </a:cxn>
                <a:cxn ang="0">
                  <a:pos x="803" y="1121"/>
                </a:cxn>
                <a:cxn ang="0">
                  <a:pos x="1023" y="1015"/>
                </a:cxn>
                <a:cxn ang="0">
                  <a:pos x="1244" y="936"/>
                </a:cxn>
                <a:cxn ang="0">
                  <a:pos x="1288" y="768"/>
                </a:cxn>
                <a:cxn ang="0">
                  <a:pos x="1359" y="556"/>
                </a:cxn>
                <a:cxn ang="0">
                  <a:pos x="1544" y="733"/>
                </a:cxn>
                <a:cxn ang="0">
                  <a:pos x="1729" y="795"/>
                </a:cxn>
                <a:cxn ang="0">
                  <a:pos x="1950" y="803"/>
                </a:cxn>
                <a:cxn ang="0">
                  <a:pos x="2135" y="283"/>
                </a:cxn>
                <a:cxn ang="0">
                  <a:pos x="2355" y="556"/>
                </a:cxn>
                <a:cxn ang="0">
                  <a:pos x="2549" y="768"/>
                </a:cxn>
                <a:cxn ang="0">
                  <a:pos x="2761" y="689"/>
                </a:cxn>
                <a:cxn ang="0">
                  <a:pos x="2964" y="715"/>
                </a:cxn>
                <a:cxn ang="0">
                  <a:pos x="3246" y="574"/>
                </a:cxn>
                <a:cxn ang="0">
                  <a:pos x="3476" y="618"/>
                </a:cxn>
                <a:cxn ang="0">
                  <a:pos x="3855" y="345"/>
                </a:cxn>
                <a:cxn ang="0">
                  <a:pos x="4146" y="186"/>
                </a:cxn>
                <a:cxn ang="0">
                  <a:pos x="4437" y="27"/>
                </a:cxn>
              </a:cxnLst>
              <a:rect l="0" t="0" r="r" b="b"/>
              <a:pathLst>
                <a:path w="4580" h="3769">
                  <a:moveTo>
                    <a:pt x="4508" y="0"/>
                  </a:moveTo>
                  <a:lnTo>
                    <a:pt x="4579" y="2259"/>
                  </a:lnTo>
                  <a:lnTo>
                    <a:pt x="4535" y="2277"/>
                  </a:lnTo>
                  <a:lnTo>
                    <a:pt x="4464" y="2242"/>
                  </a:lnTo>
                  <a:lnTo>
                    <a:pt x="4420" y="2268"/>
                  </a:lnTo>
                  <a:lnTo>
                    <a:pt x="4349" y="2268"/>
                  </a:lnTo>
                  <a:lnTo>
                    <a:pt x="4314" y="2233"/>
                  </a:lnTo>
                  <a:lnTo>
                    <a:pt x="4287" y="2198"/>
                  </a:lnTo>
                  <a:lnTo>
                    <a:pt x="4243" y="2268"/>
                  </a:lnTo>
                  <a:lnTo>
                    <a:pt x="4173" y="2295"/>
                  </a:lnTo>
                  <a:lnTo>
                    <a:pt x="4120" y="2251"/>
                  </a:lnTo>
                  <a:lnTo>
                    <a:pt x="4093" y="2295"/>
                  </a:lnTo>
                  <a:lnTo>
                    <a:pt x="4049" y="2277"/>
                  </a:lnTo>
                  <a:lnTo>
                    <a:pt x="3987" y="2312"/>
                  </a:lnTo>
                  <a:lnTo>
                    <a:pt x="3899" y="2312"/>
                  </a:lnTo>
                  <a:lnTo>
                    <a:pt x="3811" y="2312"/>
                  </a:lnTo>
                  <a:lnTo>
                    <a:pt x="3767" y="2268"/>
                  </a:lnTo>
                  <a:lnTo>
                    <a:pt x="3705" y="2330"/>
                  </a:lnTo>
                  <a:lnTo>
                    <a:pt x="3608" y="2339"/>
                  </a:lnTo>
                  <a:lnTo>
                    <a:pt x="3502" y="2356"/>
                  </a:lnTo>
                  <a:lnTo>
                    <a:pt x="3387" y="2374"/>
                  </a:lnTo>
                  <a:lnTo>
                    <a:pt x="3334" y="2303"/>
                  </a:lnTo>
                  <a:lnTo>
                    <a:pt x="3264" y="2303"/>
                  </a:lnTo>
                  <a:lnTo>
                    <a:pt x="3246" y="2348"/>
                  </a:lnTo>
                  <a:lnTo>
                    <a:pt x="3255" y="2427"/>
                  </a:lnTo>
                  <a:lnTo>
                    <a:pt x="3176" y="2383"/>
                  </a:lnTo>
                  <a:lnTo>
                    <a:pt x="3123" y="2418"/>
                  </a:lnTo>
                  <a:lnTo>
                    <a:pt x="3025" y="2418"/>
                  </a:lnTo>
                  <a:lnTo>
                    <a:pt x="2946" y="2480"/>
                  </a:lnTo>
                  <a:lnTo>
                    <a:pt x="2867" y="2480"/>
                  </a:lnTo>
                  <a:lnTo>
                    <a:pt x="2875" y="2524"/>
                  </a:lnTo>
                  <a:lnTo>
                    <a:pt x="2787" y="2542"/>
                  </a:lnTo>
                  <a:lnTo>
                    <a:pt x="2787" y="2595"/>
                  </a:lnTo>
                  <a:lnTo>
                    <a:pt x="2743" y="2630"/>
                  </a:lnTo>
                  <a:lnTo>
                    <a:pt x="2664" y="2612"/>
                  </a:lnTo>
                  <a:lnTo>
                    <a:pt x="2549" y="2630"/>
                  </a:lnTo>
                  <a:lnTo>
                    <a:pt x="2487" y="2621"/>
                  </a:lnTo>
                  <a:lnTo>
                    <a:pt x="2425" y="2656"/>
                  </a:lnTo>
                  <a:lnTo>
                    <a:pt x="2372" y="2709"/>
                  </a:lnTo>
                  <a:lnTo>
                    <a:pt x="2346" y="2762"/>
                  </a:lnTo>
                  <a:lnTo>
                    <a:pt x="2328" y="2806"/>
                  </a:lnTo>
                  <a:lnTo>
                    <a:pt x="2276" y="2806"/>
                  </a:lnTo>
                  <a:lnTo>
                    <a:pt x="2223" y="2824"/>
                  </a:lnTo>
                  <a:lnTo>
                    <a:pt x="2188" y="2868"/>
                  </a:lnTo>
                  <a:lnTo>
                    <a:pt x="2082" y="2877"/>
                  </a:lnTo>
                  <a:lnTo>
                    <a:pt x="2012" y="2886"/>
                  </a:lnTo>
                  <a:lnTo>
                    <a:pt x="1950" y="2921"/>
                  </a:lnTo>
                  <a:lnTo>
                    <a:pt x="1906" y="2903"/>
                  </a:lnTo>
                  <a:lnTo>
                    <a:pt x="1835" y="2921"/>
                  </a:lnTo>
                  <a:lnTo>
                    <a:pt x="1773" y="2895"/>
                  </a:lnTo>
                  <a:lnTo>
                    <a:pt x="1676" y="2921"/>
                  </a:lnTo>
                  <a:lnTo>
                    <a:pt x="1615" y="2886"/>
                  </a:lnTo>
                  <a:lnTo>
                    <a:pt x="1579" y="2939"/>
                  </a:lnTo>
                  <a:lnTo>
                    <a:pt x="1579" y="3715"/>
                  </a:lnTo>
                  <a:lnTo>
                    <a:pt x="1429" y="3724"/>
                  </a:lnTo>
                  <a:lnTo>
                    <a:pt x="1314" y="3751"/>
                  </a:lnTo>
                  <a:lnTo>
                    <a:pt x="1200" y="3768"/>
                  </a:lnTo>
                  <a:lnTo>
                    <a:pt x="1112" y="3733"/>
                  </a:lnTo>
                  <a:lnTo>
                    <a:pt x="1041" y="3680"/>
                  </a:lnTo>
                  <a:lnTo>
                    <a:pt x="961" y="3645"/>
                  </a:lnTo>
                  <a:lnTo>
                    <a:pt x="900" y="3583"/>
                  </a:lnTo>
                  <a:lnTo>
                    <a:pt x="803" y="3556"/>
                  </a:lnTo>
                  <a:lnTo>
                    <a:pt x="706" y="3539"/>
                  </a:lnTo>
                  <a:lnTo>
                    <a:pt x="617" y="3556"/>
                  </a:lnTo>
                  <a:lnTo>
                    <a:pt x="547" y="3503"/>
                  </a:lnTo>
                  <a:lnTo>
                    <a:pt x="467" y="3424"/>
                  </a:lnTo>
                  <a:lnTo>
                    <a:pt x="441" y="3353"/>
                  </a:lnTo>
                  <a:lnTo>
                    <a:pt x="397" y="3301"/>
                  </a:lnTo>
                  <a:lnTo>
                    <a:pt x="406" y="3159"/>
                  </a:lnTo>
                  <a:lnTo>
                    <a:pt x="370" y="3062"/>
                  </a:lnTo>
                  <a:lnTo>
                    <a:pt x="326" y="2974"/>
                  </a:lnTo>
                  <a:lnTo>
                    <a:pt x="326" y="2868"/>
                  </a:lnTo>
                  <a:lnTo>
                    <a:pt x="300" y="2780"/>
                  </a:lnTo>
                  <a:lnTo>
                    <a:pt x="353" y="2718"/>
                  </a:lnTo>
                  <a:lnTo>
                    <a:pt x="406" y="2612"/>
                  </a:lnTo>
                  <a:lnTo>
                    <a:pt x="388" y="2498"/>
                  </a:lnTo>
                  <a:lnTo>
                    <a:pt x="326" y="2436"/>
                  </a:lnTo>
                  <a:lnTo>
                    <a:pt x="211" y="2374"/>
                  </a:lnTo>
                  <a:lnTo>
                    <a:pt x="105" y="2339"/>
                  </a:lnTo>
                  <a:lnTo>
                    <a:pt x="0" y="2339"/>
                  </a:lnTo>
                  <a:lnTo>
                    <a:pt x="26" y="2268"/>
                  </a:lnTo>
                  <a:lnTo>
                    <a:pt x="150" y="2145"/>
                  </a:lnTo>
                  <a:lnTo>
                    <a:pt x="229" y="2074"/>
                  </a:lnTo>
                  <a:lnTo>
                    <a:pt x="308" y="1977"/>
                  </a:lnTo>
                  <a:lnTo>
                    <a:pt x="335" y="1915"/>
                  </a:lnTo>
                  <a:lnTo>
                    <a:pt x="335" y="1836"/>
                  </a:lnTo>
                  <a:lnTo>
                    <a:pt x="344" y="1748"/>
                  </a:lnTo>
                  <a:lnTo>
                    <a:pt x="370" y="1659"/>
                  </a:lnTo>
                  <a:lnTo>
                    <a:pt x="423" y="1633"/>
                  </a:lnTo>
                  <a:lnTo>
                    <a:pt x="441" y="1571"/>
                  </a:lnTo>
                  <a:lnTo>
                    <a:pt x="485" y="1518"/>
                  </a:lnTo>
                  <a:lnTo>
                    <a:pt x="529" y="1500"/>
                  </a:lnTo>
                  <a:lnTo>
                    <a:pt x="582" y="1448"/>
                  </a:lnTo>
                  <a:lnTo>
                    <a:pt x="626" y="1386"/>
                  </a:lnTo>
                  <a:lnTo>
                    <a:pt x="688" y="1271"/>
                  </a:lnTo>
                  <a:lnTo>
                    <a:pt x="803" y="1121"/>
                  </a:lnTo>
                  <a:lnTo>
                    <a:pt x="882" y="1112"/>
                  </a:lnTo>
                  <a:lnTo>
                    <a:pt x="970" y="1077"/>
                  </a:lnTo>
                  <a:lnTo>
                    <a:pt x="1023" y="1015"/>
                  </a:lnTo>
                  <a:lnTo>
                    <a:pt x="1120" y="1015"/>
                  </a:lnTo>
                  <a:lnTo>
                    <a:pt x="1200" y="980"/>
                  </a:lnTo>
                  <a:lnTo>
                    <a:pt x="1244" y="936"/>
                  </a:lnTo>
                  <a:lnTo>
                    <a:pt x="1306" y="900"/>
                  </a:lnTo>
                  <a:lnTo>
                    <a:pt x="1341" y="856"/>
                  </a:lnTo>
                  <a:lnTo>
                    <a:pt x="1288" y="768"/>
                  </a:lnTo>
                  <a:lnTo>
                    <a:pt x="1253" y="689"/>
                  </a:lnTo>
                  <a:lnTo>
                    <a:pt x="1297" y="609"/>
                  </a:lnTo>
                  <a:lnTo>
                    <a:pt x="1359" y="556"/>
                  </a:lnTo>
                  <a:lnTo>
                    <a:pt x="1438" y="565"/>
                  </a:lnTo>
                  <a:lnTo>
                    <a:pt x="1517" y="627"/>
                  </a:lnTo>
                  <a:lnTo>
                    <a:pt x="1544" y="733"/>
                  </a:lnTo>
                  <a:lnTo>
                    <a:pt x="1597" y="821"/>
                  </a:lnTo>
                  <a:lnTo>
                    <a:pt x="1667" y="821"/>
                  </a:lnTo>
                  <a:lnTo>
                    <a:pt x="1729" y="795"/>
                  </a:lnTo>
                  <a:lnTo>
                    <a:pt x="1782" y="750"/>
                  </a:lnTo>
                  <a:lnTo>
                    <a:pt x="1862" y="768"/>
                  </a:lnTo>
                  <a:lnTo>
                    <a:pt x="1950" y="803"/>
                  </a:lnTo>
                  <a:lnTo>
                    <a:pt x="2012" y="848"/>
                  </a:lnTo>
                  <a:lnTo>
                    <a:pt x="2082" y="874"/>
                  </a:lnTo>
                  <a:lnTo>
                    <a:pt x="2135" y="283"/>
                  </a:lnTo>
                  <a:lnTo>
                    <a:pt x="2188" y="371"/>
                  </a:lnTo>
                  <a:lnTo>
                    <a:pt x="2259" y="450"/>
                  </a:lnTo>
                  <a:lnTo>
                    <a:pt x="2355" y="556"/>
                  </a:lnTo>
                  <a:lnTo>
                    <a:pt x="2452" y="636"/>
                  </a:lnTo>
                  <a:lnTo>
                    <a:pt x="2496" y="706"/>
                  </a:lnTo>
                  <a:lnTo>
                    <a:pt x="2549" y="768"/>
                  </a:lnTo>
                  <a:lnTo>
                    <a:pt x="2620" y="724"/>
                  </a:lnTo>
                  <a:lnTo>
                    <a:pt x="2690" y="750"/>
                  </a:lnTo>
                  <a:lnTo>
                    <a:pt x="2761" y="689"/>
                  </a:lnTo>
                  <a:lnTo>
                    <a:pt x="2840" y="715"/>
                  </a:lnTo>
                  <a:lnTo>
                    <a:pt x="2902" y="689"/>
                  </a:lnTo>
                  <a:lnTo>
                    <a:pt x="2964" y="715"/>
                  </a:lnTo>
                  <a:lnTo>
                    <a:pt x="3061" y="627"/>
                  </a:lnTo>
                  <a:lnTo>
                    <a:pt x="3140" y="583"/>
                  </a:lnTo>
                  <a:lnTo>
                    <a:pt x="3246" y="574"/>
                  </a:lnTo>
                  <a:lnTo>
                    <a:pt x="3334" y="618"/>
                  </a:lnTo>
                  <a:lnTo>
                    <a:pt x="3396" y="645"/>
                  </a:lnTo>
                  <a:lnTo>
                    <a:pt x="3476" y="618"/>
                  </a:lnTo>
                  <a:lnTo>
                    <a:pt x="3652" y="406"/>
                  </a:lnTo>
                  <a:lnTo>
                    <a:pt x="3767" y="371"/>
                  </a:lnTo>
                  <a:lnTo>
                    <a:pt x="3855" y="345"/>
                  </a:lnTo>
                  <a:lnTo>
                    <a:pt x="3881" y="274"/>
                  </a:lnTo>
                  <a:lnTo>
                    <a:pt x="4049" y="239"/>
                  </a:lnTo>
                  <a:lnTo>
                    <a:pt x="4146" y="186"/>
                  </a:lnTo>
                  <a:lnTo>
                    <a:pt x="4279" y="115"/>
                  </a:lnTo>
                  <a:lnTo>
                    <a:pt x="4393" y="89"/>
                  </a:lnTo>
                  <a:lnTo>
                    <a:pt x="4437" y="27"/>
                  </a:lnTo>
                  <a:lnTo>
                    <a:pt x="4526" y="0"/>
                  </a:lnTo>
                  <a:lnTo>
                    <a:pt x="4508" y="0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7" name="Freeform 28"/>
            <p:cNvSpPr>
              <a:spLocks noChangeArrowheads="1"/>
            </p:cNvSpPr>
            <p:nvPr/>
          </p:nvSpPr>
          <p:spPr bwMode="auto">
            <a:xfrm>
              <a:off x="3447495" y="4468941"/>
              <a:ext cx="1198645" cy="709780"/>
            </a:xfrm>
            <a:custGeom>
              <a:avLst/>
              <a:gdLst/>
              <a:ahLst/>
              <a:cxnLst>
                <a:cxn ang="0">
                  <a:pos x="3556" y="26"/>
                </a:cxn>
                <a:cxn ang="0">
                  <a:pos x="3459" y="176"/>
                </a:cxn>
                <a:cxn ang="0">
                  <a:pos x="3344" y="132"/>
                </a:cxn>
                <a:cxn ang="0">
                  <a:pos x="3167" y="105"/>
                </a:cxn>
                <a:cxn ang="0">
                  <a:pos x="3000" y="61"/>
                </a:cxn>
                <a:cxn ang="0">
                  <a:pos x="2841" y="70"/>
                </a:cxn>
                <a:cxn ang="0">
                  <a:pos x="2708" y="0"/>
                </a:cxn>
                <a:cxn ang="0">
                  <a:pos x="2541" y="53"/>
                </a:cxn>
                <a:cxn ang="0">
                  <a:pos x="2408" y="114"/>
                </a:cxn>
                <a:cxn ang="0">
                  <a:pos x="2188" y="70"/>
                </a:cxn>
                <a:cxn ang="0">
                  <a:pos x="1923" y="158"/>
                </a:cxn>
                <a:cxn ang="0">
                  <a:pos x="1685" y="105"/>
                </a:cxn>
                <a:cxn ang="0">
                  <a:pos x="1597" y="185"/>
                </a:cxn>
                <a:cxn ang="0">
                  <a:pos x="1367" y="282"/>
                </a:cxn>
                <a:cxn ang="0">
                  <a:pos x="1208" y="344"/>
                </a:cxn>
                <a:cxn ang="0">
                  <a:pos x="1085" y="414"/>
                </a:cxn>
                <a:cxn ang="0">
                  <a:pos x="846" y="458"/>
                </a:cxn>
                <a:cxn ang="0">
                  <a:pos x="749" y="608"/>
                </a:cxn>
                <a:cxn ang="0">
                  <a:pos x="609" y="670"/>
                </a:cxn>
                <a:cxn ang="0">
                  <a:pos x="371" y="723"/>
                </a:cxn>
                <a:cxn ang="0">
                  <a:pos x="194" y="697"/>
                </a:cxn>
                <a:cxn ang="0">
                  <a:pos x="0" y="741"/>
                </a:cxn>
                <a:cxn ang="0">
                  <a:pos x="71" y="1650"/>
                </a:cxn>
                <a:cxn ang="0">
                  <a:pos x="168" y="1782"/>
                </a:cxn>
                <a:cxn ang="0">
                  <a:pos x="274" y="1888"/>
                </a:cxn>
                <a:cxn ang="0">
                  <a:pos x="406" y="2100"/>
                </a:cxn>
                <a:cxn ang="0">
                  <a:pos x="591" y="2232"/>
                </a:cxn>
                <a:cxn ang="0">
                  <a:pos x="793" y="2241"/>
                </a:cxn>
                <a:cxn ang="0">
                  <a:pos x="899" y="2144"/>
                </a:cxn>
                <a:cxn ang="0">
                  <a:pos x="979" y="1967"/>
                </a:cxn>
                <a:cxn ang="0">
                  <a:pos x="1111" y="1950"/>
                </a:cxn>
                <a:cxn ang="0">
                  <a:pos x="1349" y="2082"/>
                </a:cxn>
                <a:cxn ang="0">
                  <a:pos x="1499" y="2170"/>
                </a:cxn>
                <a:cxn ang="0">
                  <a:pos x="1614" y="2303"/>
                </a:cxn>
                <a:cxn ang="0">
                  <a:pos x="1694" y="2373"/>
                </a:cxn>
                <a:cxn ang="0">
                  <a:pos x="1817" y="2426"/>
                </a:cxn>
                <a:cxn ang="0">
                  <a:pos x="1976" y="2470"/>
                </a:cxn>
                <a:cxn ang="0">
                  <a:pos x="2294" y="2135"/>
                </a:cxn>
                <a:cxn ang="0">
                  <a:pos x="2444" y="2073"/>
                </a:cxn>
                <a:cxn ang="0">
                  <a:pos x="2550" y="1985"/>
                </a:cxn>
                <a:cxn ang="0">
                  <a:pos x="2550" y="1720"/>
                </a:cxn>
                <a:cxn ang="0">
                  <a:pos x="2523" y="1438"/>
                </a:cxn>
                <a:cxn ang="0">
                  <a:pos x="2638" y="1314"/>
                </a:cxn>
                <a:cxn ang="0">
                  <a:pos x="2858" y="1385"/>
                </a:cxn>
                <a:cxn ang="0">
                  <a:pos x="3044" y="1217"/>
                </a:cxn>
                <a:cxn ang="0">
                  <a:pos x="3229" y="1094"/>
                </a:cxn>
                <a:cxn ang="0">
                  <a:pos x="3467" y="1094"/>
                </a:cxn>
                <a:cxn ang="0">
                  <a:pos x="3662" y="1050"/>
                </a:cxn>
                <a:cxn ang="0">
                  <a:pos x="3856" y="988"/>
                </a:cxn>
                <a:cxn ang="0">
                  <a:pos x="4103" y="953"/>
                </a:cxn>
                <a:cxn ang="0">
                  <a:pos x="4191" y="820"/>
                </a:cxn>
                <a:cxn ang="0">
                  <a:pos x="4279" y="661"/>
                </a:cxn>
                <a:cxn ang="0">
                  <a:pos x="4129" y="670"/>
                </a:cxn>
                <a:cxn ang="0">
                  <a:pos x="3953" y="741"/>
                </a:cxn>
                <a:cxn ang="0">
                  <a:pos x="3697" y="697"/>
                </a:cxn>
                <a:cxn ang="0">
                  <a:pos x="3538" y="573"/>
                </a:cxn>
                <a:cxn ang="0">
                  <a:pos x="3406" y="423"/>
                </a:cxn>
                <a:cxn ang="0">
                  <a:pos x="3670" y="114"/>
                </a:cxn>
              </a:cxnLst>
              <a:rect l="0" t="0" r="r" b="b"/>
              <a:pathLst>
                <a:path w="4298" h="2515">
                  <a:moveTo>
                    <a:pt x="3670" y="114"/>
                  </a:moveTo>
                  <a:lnTo>
                    <a:pt x="3644" y="53"/>
                  </a:lnTo>
                  <a:lnTo>
                    <a:pt x="3556" y="26"/>
                  </a:lnTo>
                  <a:lnTo>
                    <a:pt x="3511" y="70"/>
                  </a:lnTo>
                  <a:lnTo>
                    <a:pt x="3520" y="123"/>
                  </a:lnTo>
                  <a:lnTo>
                    <a:pt x="3459" y="176"/>
                  </a:lnTo>
                  <a:lnTo>
                    <a:pt x="3432" y="141"/>
                  </a:lnTo>
                  <a:lnTo>
                    <a:pt x="3344" y="167"/>
                  </a:lnTo>
                  <a:lnTo>
                    <a:pt x="3344" y="132"/>
                  </a:lnTo>
                  <a:lnTo>
                    <a:pt x="3264" y="141"/>
                  </a:lnTo>
                  <a:lnTo>
                    <a:pt x="3256" y="97"/>
                  </a:lnTo>
                  <a:lnTo>
                    <a:pt x="3167" y="105"/>
                  </a:lnTo>
                  <a:lnTo>
                    <a:pt x="3123" y="79"/>
                  </a:lnTo>
                  <a:lnTo>
                    <a:pt x="3044" y="97"/>
                  </a:lnTo>
                  <a:lnTo>
                    <a:pt x="3000" y="61"/>
                  </a:lnTo>
                  <a:lnTo>
                    <a:pt x="2956" y="79"/>
                  </a:lnTo>
                  <a:lnTo>
                    <a:pt x="2885" y="44"/>
                  </a:lnTo>
                  <a:lnTo>
                    <a:pt x="2841" y="70"/>
                  </a:lnTo>
                  <a:lnTo>
                    <a:pt x="2770" y="70"/>
                  </a:lnTo>
                  <a:lnTo>
                    <a:pt x="2735" y="35"/>
                  </a:lnTo>
                  <a:lnTo>
                    <a:pt x="2708" y="0"/>
                  </a:lnTo>
                  <a:lnTo>
                    <a:pt x="2664" y="70"/>
                  </a:lnTo>
                  <a:lnTo>
                    <a:pt x="2594" y="97"/>
                  </a:lnTo>
                  <a:lnTo>
                    <a:pt x="2541" y="53"/>
                  </a:lnTo>
                  <a:lnTo>
                    <a:pt x="2514" y="97"/>
                  </a:lnTo>
                  <a:lnTo>
                    <a:pt x="2470" y="79"/>
                  </a:lnTo>
                  <a:lnTo>
                    <a:pt x="2408" y="114"/>
                  </a:lnTo>
                  <a:lnTo>
                    <a:pt x="2320" y="114"/>
                  </a:lnTo>
                  <a:lnTo>
                    <a:pt x="2232" y="114"/>
                  </a:lnTo>
                  <a:lnTo>
                    <a:pt x="2188" y="70"/>
                  </a:lnTo>
                  <a:lnTo>
                    <a:pt x="2126" y="132"/>
                  </a:lnTo>
                  <a:lnTo>
                    <a:pt x="2029" y="141"/>
                  </a:lnTo>
                  <a:lnTo>
                    <a:pt x="1923" y="158"/>
                  </a:lnTo>
                  <a:lnTo>
                    <a:pt x="1808" y="176"/>
                  </a:lnTo>
                  <a:lnTo>
                    <a:pt x="1755" y="105"/>
                  </a:lnTo>
                  <a:lnTo>
                    <a:pt x="1685" y="105"/>
                  </a:lnTo>
                  <a:lnTo>
                    <a:pt x="1667" y="150"/>
                  </a:lnTo>
                  <a:lnTo>
                    <a:pt x="1676" y="229"/>
                  </a:lnTo>
                  <a:lnTo>
                    <a:pt x="1597" y="185"/>
                  </a:lnTo>
                  <a:lnTo>
                    <a:pt x="1544" y="220"/>
                  </a:lnTo>
                  <a:lnTo>
                    <a:pt x="1446" y="220"/>
                  </a:lnTo>
                  <a:lnTo>
                    <a:pt x="1367" y="282"/>
                  </a:lnTo>
                  <a:lnTo>
                    <a:pt x="1288" y="282"/>
                  </a:lnTo>
                  <a:lnTo>
                    <a:pt x="1296" y="326"/>
                  </a:lnTo>
                  <a:lnTo>
                    <a:pt x="1208" y="344"/>
                  </a:lnTo>
                  <a:lnTo>
                    <a:pt x="1208" y="397"/>
                  </a:lnTo>
                  <a:lnTo>
                    <a:pt x="1164" y="432"/>
                  </a:lnTo>
                  <a:lnTo>
                    <a:pt x="1085" y="414"/>
                  </a:lnTo>
                  <a:lnTo>
                    <a:pt x="970" y="432"/>
                  </a:lnTo>
                  <a:lnTo>
                    <a:pt x="908" y="423"/>
                  </a:lnTo>
                  <a:lnTo>
                    <a:pt x="846" y="458"/>
                  </a:lnTo>
                  <a:lnTo>
                    <a:pt x="793" y="511"/>
                  </a:lnTo>
                  <a:lnTo>
                    <a:pt x="767" y="564"/>
                  </a:lnTo>
                  <a:lnTo>
                    <a:pt x="749" y="608"/>
                  </a:lnTo>
                  <a:lnTo>
                    <a:pt x="697" y="608"/>
                  </a:lnTo>
                  <a:lnTo>
                    <a:pt x="644" y="626"/>
                  </a:lnTo>
                  <a:lnTo>
                    <a:pt x="609" y="670"/>
                  </a:lnTo>
                  <a:lnTo>
                    <a:pt x="503" y="679"/>
                  </a:lnTo>
                  <a:lnTo>
                    <a:pt x="433" y="688"/>
                  </a:lnTo>
                  <a:lnTo>
                    <a:pt x="371" y="723"/>
                  </a:lnTo>
                  <a:lnTo>
                    <a:pt x="327" y="705"/>
                  </a:lnTo>
                  <a:lnTo>
                    <a:pt x="256" y="723"/>
                  </a:lnTo>
                  <a:lnTo>
                    <a:pt x="194" y="697"/>
                  </a:lnTo>
                  <a:lnTo>
                    <a:pt x="97" y="723"/>
                  </a:lnTo>
                  <a:lnTo>
                    <a:pt x="36" y="688"/>
                  </a:lnTo>
                  <a:lnTo>
                    <a:pt x="0" y="741"/>
                  </a:lnTo>
                  <a:lnTo>
                    <a:pt x="0" y="1517"/>
                  </a:lnTo>
                  <a:lnTo>
                    <a:pt x="9" y="1623"/>
                  </a:lnTo>
                  <a:lnTo>
                    <a:pt x="71" y="1650"/>
                  </a:lnTo>
                  <a:lnTo>
                    <a:pt x="106" y="1711"/>
                  </a:lnTo>
                  <a:lnTo>
                    <a:pt x="106" y="1764"/>
                  </a:lnTo>
                  <a:lnTo>
                    <a:pt x="168" y="1782"/>
                  </a:lnTo>
                  <a:lnTo>
                    <a:pt x="212" y="1808"/>
                  </a:lnTo>
                  <a:lnTo>
                    <a:pt x="230" y="1870"/>
                  </a:lnTo>
                  <a:lnTo>
                    <a:pt x="274" y="1888"/>
                  </a:lnTo>
                  <a:lnTo>
                    <a:pt x="283" y="1976"/>
                  </a:lnTo>
                  <a:lnTo>
                    <a:pt x="327" y="2029"/>
                  </a:lnTo>
                  <a:lnTo>
                    <a:pt x="406" y="2100"/>
                  </a:lnTo>
                  <a:lnTo>
                    <a:pt x="459" y="2135"/>
                  </a:lnTo>
                  <a:lnTo>
                    <a:pt x="539" y="2170"/>
                  </a:lnTo>
                  <a:lnTo>
                    <a:pt x="591" y="2232"/>
                  </a:lnTo>
                  <a:lnTo>
                    <a:pt x="644" y="2258"/>
                  </a:lnTo>
                  <a:lnTo>
                    <a:pt x="723" y="2276"/>
                  </a:lnTo>
                  <a:lnTo>
                    <a:pt x="793" y="2241"/>
                  </a:lnTo>
                  <a:lnTo>
                    <a:pt x="802" y="2188"/>
                  </a:lnTo>
                  <a:lnTo>
                    <a:pt x="846" y="2153"/>
                  </a:lnTo>
                  <a:lnTo>
                    <a:pt x="899" y="2144"/>
                  </a:lnTo>
                  <a:lnTo>
                    <a:pt x="935" y="2091"/>
                  </a:lnTo>
                  <a:lnTo>
                    <a:pt x="926" y="2029"/>
                  </a:lnTo>
                  <a:lnTo>
                    <a:pt x="979" y="1967"/>
                  </a:lnTo>
                  <a:lnTo>
                    <a:pt x="1023" y="1958"/>
                  </a:lnTo>
                  <a:lnTo>
                    <a:pt x="1067" y="2011"/>
                  </a:lnTo>
                  <a:lnTo>
                    <a:pt x="1111" y="1950"/>
                  </a:lnTo>
                  <a:lnTo>
                    <a:pt x="1173" y="1976"/>
                  </a:lnTo>
                  <a:lnTo>
                    <a:pt x="1244" y="2020"/>
                  </a:lnTo>
                  <a:lnTo>
                    <a:pt x="1349" y="2082"/>
                  </a:lnTo>
                  <a:lnTo>
                    <a:pt x="1402" y="2038"/>
                  </a:lnTo>
                  <a:lnTo>
                    <a:pt x="1473" y="2100"/>
                  </a:lnTo>
                  <a:lnTo>
                    <a:pt x="1499" y="2170"/>
                  </a:lnTo>
                  <a:lnTo>
                    <a:pt x="1526" y="2232"/>
                  </a:lnTo>
                  <a:lnTo>
                    <a:pt x="1579" y="2241"/>
                  </a:lnTo>
                  <a:lnTo>
                    <a:pt x="1614" y="2303"/>
                  </a:lnTo>
                  <a:lnTo>
                    <a:pt x="1614" y="2356"/>
                  </a:lnTo>
                  <a:lnTo>
                    <a:pt x="1658" y="2391"/>
                  </a:lnTo>
                  <a:lnTo>
                    <a:pt x="1694" y="2373"/>
                  </a:lnTo>
                  <a:lnTo>
                    <a:pt x="1720" y="2461"/>
                  </a:lnTo>
                  <a:lnTo>
                    <a:pt x="1764" y="2444"/>
                  </a:lnTo>
                  <a:lnTo>
                    <a:pt x="1817" y="2426"/>
                  </a:lnTo>
                  <a:lnTo>
                    <a:pt x="1879" y="2461"/>
                  </a:lnTo>
                  <a:lnTo>
                    <a:pt x="1914" y="2514"/>
                  </a:lnTo>
                  <a:lnTo>
                    <a:pt x="1976" y="2470"/>
                  </a:lnTo>
                  <a:lnTo>
                    <a:pt x="2241" y="2258"/>
                  </a:lnTo>
                  <a:lnTo>
                    <a:pt x="2232" y="2188"/>
                  </a:lnTo>
                  <a:lnTo>
                    <a:pt x="2294" y="2135"/>
                  </a:lnTo>
                  <a:lnTo>
                    <a:pt x="2347" y="2153"/>
                  </a:lnTo>
                  <a:lnTo>
                    <a:pt x="2408" y="2117"/>
                  </a:lnTo>
                  <a:lnTo>
                    <a:pt x="2444" y="2073"/>
                  </a:lnTo>
                  <a:lnTo>
                    <a:pt x="2453" y="2020"/>
                  </a:lnTo>
                  <a:lnTo>
                    <a:pt x="2479" y="1976"/>
                  </a:lnTo>
                  <a:lnTo>
                    <a:pt x="2550" y="1985"/>
                  </a:lnTo>
                  <a:lnTo>
                    <a:pt x="2523" y="1906"/>
                  </a:lnTo>
                  <a:lnTo>
                    <a:pt x="2514" y="1817"/>
                  </a:lnTo>
                  <a:lnTo>
                    <a:pt x="2550" y="1720"/>
                  </a:lnTo>
                  <a:lnTo>
                    <a:pt x="2558" y="1597"/>
                  </a:lnTo>
                  <a:lnTo>
                    <a:pt x="2558" y="1491"/>
                  </a:lnTo>
                  <a:lnTo>
                    <a:pt x="2523" y="1438"/>
                  </a:lnTo>
                  <a:lnTo>
                    <a:pt x="2505" y="1367"/>
                  </a:lnTo>
                  <a:lnTo>
                    <a:pt x="2558" y="1305"/>
                  </a:lnTo>
                  <a:lnTo>
                    <a:pt x="2638" y="1314"/>
                  </a:lnTo>
                  <a:lnTo>
                    <a:pt x="2708" y="1376"/>
                  </a:lnTo>
                  <a:lnTo>
                    <a:pt x="2806" y="1429"/>
                  </a:lnTo>
                  <a:lnTo>
                    <a:pt x="2858" y="1385"/>
                  </a:lnTo>
                  <a:lnTo>
                    <a:pt x="2885" y="1314"/>
                  </a:lnTo>
                  <a:lnTo>
                    <a:pt x="2956" y="1261"/>
                  </a:lnTo>
                  <a:lnTo>
                    <a:pt x="3044" y="1217"/>
                  </a:lnTo>
                  <a:lnTo>
                    <a:pt x="3132" y="1217"/>
                  </a:lnTo>
                  <a:lnTo>
                    <a:pt x="3185" y="1164"/>
                  </a:lnTo>
                  <a:lnTo>
                    <a:pt x="3229" y="1094"/>
                  </a:lnTo>
                  <a:lnTo>
                    <a:pt x="3326" y="1103"/>
                  </a:lnTo>
                  <a:lnTo>
                    <a:pt x="3406" y="1085"/>
                  </a:lnTo>
                  <a:lnTo>
                    <a:pt x="3467" y="1094"/>
                  </a:lnTo>
                  <a:lnTo>
                    <a:pt x="3529" y="1103"/>
                  </a:lnTo>
                  <a:lnTo>
                    <a:pt x="3609" y="1076"/>
                  </a:lnTo>
                  <a:lnTo>
                    <a:pt x="3662" y="1050"/>
                  </a:lnTo>
                  <a:lnTo>
                    <a:pt x="3741" y="1050"/>
                  </a:lnTo>
                  <a:lnTo>
                    <a:pt x="3794" y="1005"/>
                  </a:lnTo>
                  <a:lnTo>
                    <a:pt x="3856" y="988"/>
                  </a:lnTo>
                  <a:lnTo>
                    <a:pt x="3909" y="988"/>
                  </a:lnTo>
                  <a:lnTo>
                    <a:pt x="4015" y="970"/>
                  </a:lnTo>
                  <a:lnTo>
                    <a:pt x="4103" y="953"/>
                  </a:lnTo>
                  <a:lnTo>
                    <a:pt x="4129" y="908"/>
                  </a:lnTo>
                  <a:lnTo>
                    <a:pt x="4156" y="873"/>
                  </a:lnTo>
                  <a:lnTo>
                    <a:pt x="4191" y="820"/>
                  </a:lnTo>
                  <a:lnTo>
                    <a:pt x="4262" y="776"/>
                  </a:lnTo>
                  <a:lnTo>
                    <a:pt x="4297" y="723"/>
                  </a:lnTo>
                  <a:lnTo>
                    <a:pt x="4279" y="661"/>
                  </a:lnTo>
                  <a:lnTo>
                    <a:pt x="4235" y="644"/>
                  </a:lnTo>
                  <a:lnTo>
                    <a:pt x="4182" y="688"/>
                  </a:lnTo>
                  <a:lnTo>
                    <a:pt x="4129" y="670"/>
                  </a:lnTo>
                  <a:lnTo>
                    <a:pt x="4085" y="705"/>
                  </a:lnTo>
                  <a:lnTo>
                    <a:pt x="3997" y="697"/>
                  </a:lnTo>
                  <a:lnTo>
                    <a:pt x="3953" y="741"/>
                  </a:lnTo>
                  <a:lnTo>
                    <a:pt x="3803" y="679"/>
                  </a:lnTo>
                  <a:lnTo>
                    <a:pt x="3741" y="750"/>
                  </a:lnTo>
                  <a:lnTo>
                    <a:pt x="3697" y="697"/>
                  </a:lnTo>
                  <a:lnTo>
                    <a:pt x="3626" y="670"/>
                  </a:lnTo>
                  <a:lnTo>
                    <a:pt x="3564" y="670"/>
                  </a:lnTo>
                  <a:lnTo>
                    <a:pt x="3538" y="573"/>
                  </a:lnTo>
                  <a:lnTo>
                    <a:pt x="3503" y="520"/>
                  </a:lnTo>
                  <a:lnTo>
                    <a:pt x="3459" y="467"/>
                  </a:lnTo>
                  <a:lnTo>
                    <a:pt x="3406" y="423"/>
                  </a:lnTo>
                  <a:lnTo>
                    <a:pt x="3335" y="423"/>
                  </a:lnTo>
                  <a:lnTo>
                    <a:pt x="3282" y="388"/>
                  </a:lnTo>
                  <a:lnTo>
                    <a:pt x="3670" y="114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8" name="Freeform 29"/>
            <p:cNvSpPr>
              <a:spLocks noChangeArrowheads="1"/>
            </p:cNvSpPr>
            <p:nvPr/>
          </p:nvSpPr>
          <p:spPr bwMode="auto">
            <a:xfrm>
              <a:off x="3980932" y="4715062"/>
              <a:ext cx="957329" cy="989245"/>
            </a:xfrm>
            <a:custGeom>
              <a:avLst/>
              <a:gdLst/>
              <a:ahLst/>
              <a:cxnLst>
                <a:cxn ang="0">
                  <a:pos x="1086" y="2233"/>
                </a:cxn>
                <a:cxn ang="0">
                  <a:pos x="1271" y="2294"/>
                </a:cxn>
                <a:cxn ang="0">
                  <a:pos x="1368" y="2497"/>
                </a:cxn>
                <a:cxn ang="0">
                  <a:pos x="1562" y="2577"/>
                </a:cxn>
                <a:cxn ang="0">
                  <a:pos x="1862" y="2647"/>
                </a:cxn>
                <a:cxn ang="0">
                  <a:pos x="2092" y="2691"/>
                </a:cxn>
                <a:cxn ang="0">
                  <a:pos x="2109" y="2797"/>
                </a:cxn>
                <a:cxn ang="0">
                  <a:pos x="2162" y="3009"/>
                </a:cxn>
                <a:cxn ang="0">
                  <a:pos x="2206" y="3168"/>
                </a:cxn>
                <a:cxn ang="0">
                  <a:pos x="2215" y="3300"/>
                </a:cxn>
                <a:cxn ang="0">
                  <a:pos x="2365" y="3309"/>
                </a:cxn>
                <a:cxn ang="0">
                  <a:pos x="2471" y="3247"/>
                </a:cxn>
                <a:cxn ang="0">
                  <a:pos x="2577" y="3371"/>
                </a:cxn>
                <a:cxn ang="0">
                  <a:pos x="2736" y="3318"/>
                </a:cxn>
                <a:cxn ang="0">
                  <a:pos x="2824" y="3424"/>
                </a:cxn>
                <a:cxn ang="0">
                  <a:pos x="3062" y="3450"/>
                </a:cxn>
                <a:cxn ang="0">
                  <a:pos x="3124" y="3247"/>
                </a:cxn>
                <a:cxn ang="0">
                  <a:pos x="2957" y="3088"/>
                </a:cxn>
                <a:cxn ang="0">
                  <a:pos x="2948" y="2885"/>
                </a:cxn>
                <a:cxn ang="0">
                  <a:pos x="2842" y="2700"/>
                </a:cxn>
                <a:cxn ang="0">
                  <a:pos x="2542" y="2577"/>
                </a:cxn>
                <a:cxn ang="0">
                  <a:pos x="2392" y="1650"/>
                </a:cxn>
                <a:cxn ang="0">
                  <a:pos x="2683" y="1606"/>
                </a:cxn>
                <a:cxn ang="0">
                  <a:pos x="2948" y="1483"/>
                </a:cxn>
                <a:cxn ang="0">
                  <a:pos x="3212" y="1500"/>
                </a:cxn>
                <a:cxn ang="0">
                  <a:pos x="3433" y="1509"/>
                </a:cxn>
                <a:cxn ang="0">
                  <a:pos x="3380" y="1306"/>
                </a:cxn>
                <a:cxn ang="0">
                  <a:pos x="3345" y="1138"/>
                </a:cxn>
                <a:cxn ang="0">
                  <a:pos x="3089" y="1103"/>
                </a:cxn>
                <a:cxn ang="0">
                  <a:pos x="2895" y="1041"/>
                </a:cxn>
                <a:cxn ang="0">
                  <a:pos x="2692" y="1041"/>
                </a:cxn>
                <a:cxn ang="0">
                  <a:pos x="2551" y="371"/>
                </a:cxn>
                <a:cxn ang="0">
                  <a:pos x="2295" y="282"/>
                </a:cxn>
                <a:cxn ang="0">
                  <a:pos x="2242" y="124"/>
                </a:cxn>
                <a:cxn ang="0">
                  <a:pos x="2101" y="97"/>
                </a:cxn>
                <a:cxn ang="0">
                  <a:pos x="1827" y="177"/>
                </a:cxn>
                <a:cxn ang="0">
                  <a:pos x="1553" y="221"/>
                </a:cxn>
                <a:cxn ang="0">
                  <a:pos x="1271" y="291"/>
                </a:cxn>
                <a:cxn ang="0">
                  <a:pos x="971" y="441"/>
                </a:cxn>
                <a:cxn ang="0">
                  <a:pos x="724" y="441"/>
                </a:cxn>
                <a:cxn ang="0">
                  <a:pos x="644" y="618"/>
                </a:cxn>
                <a:cxn ang="0">
                  <a:pos x="609" y="1033"/>
                </a:cxn>
                <a:cxn ang="0">
                  <a:pos x="530" y="1200"/>
                </a:cxn>
                <a:cxn ang="0">
                  <a:pos x="318" y="1315"/>
                </a:cxn>
                <a:cxn ang="0">
                  <a:pos x="53" y="1641"/>
                </a:cxn>
                <a:cxn ang="0">
                  <a:pos x="168" y="1791"/>
                </a:cxn>
                <a:cxn ang="0">
                  <a:pos x="274" y="1950"/>
                </a:cxn>
                <a:cxn ang="0">
                  <a:pos x="433" y="2038"/>
                </a:cxn>
                <a:cxn ang="0">
                  <a:pos x="627" y="2118"/>
                </a:cxn>
                <a:cxn ang="0">
                  <a:pos x="786" y="2118"/>
                </a:cxn>
              </a:cxnLst>
              <a:rect l="0" t="0" r="r" b="b"/>
              <a:pathLst>
                <a:path w="3434" h="3504">
                  <a:moveTo>
                    <a:pt x="918" y="2215"/>
                  </a:moveTo>
                  <a:lnTo>
                    <a:pt x="997" y="2206"/>
                  </a:lnTo>
                  <a:lnTo>
                    <a:pt x="1059" y="2188"/>
                  </a:lnTo>
                  <a:lnTo>
                    <a:pt x="1086" y="2233"/>
                  </a:lnTo>
                  <a:lnTo>
                    <a:pt x="1094" y="2277"/>
                  </a:lnTo>
                  <a:lnTo>
                    <a:pt x="1174" y="2294"/>
                  </a:lnTo>
                  <a:lnTo>
                    <a:pt x="1218" y="2321"/>
                  </a:lnTo>
                  <a:lnTo>
                    <a:pt x="1271" y="2294"/>
                  </a:lnTo>
                  <a:lnTo>
                    <a:pt x="1333" y="2356"/>
                  </a:lnTo>
                  <a:lnTo>
                    <a:pt x="1377" y="2400"/>
                  </a:lnTo>
                  <a:lnTo>
                    <a:pt x="1297" y="2444"/>
                  </a:lnTo>
                  <a:lnTo>
                    <a:pt x="1368" y="2497"/>
                  </a:lnTo>
                  <a:lnTo>
                    <a:pt x="1403" y="2524"/>
                  </a:lnTo>
                  <a:lnTo>
                    <a:pt x="1412" y="2594"/>
                  </a:lnTo>
                  <a:lnTo>
                    <a:pt x="1518" y="2621"/>
                  </a:lnTo>
                  <a:lnTo>
                    <a:pt x="1562" y="2577"/>
                  </a:lnTo>
                  <a:lnTo>
                    <a:pt x="1668" y="2630"/>
                  </a:lnTo>
                  <a:lnTo>
                    <a:pt x="1712" y="2612"/>
                  </a:lnTo>
                  <a:lnTo>
                    <a:pt x="1748" y="2638"/>
                  </a:lnTo>
                  <a:lnTo>
                    <a:pt x="1862" y="2647"/>
                  </a:lnTo>
                  <a:lnTo>
                    <a:pt x="1915" y="2718"/>
                  </a:lnTo>
                  <a:lnTo>
                    <a:pt x="1986" y="2744"/>
                  </a:lnTo>
                  <a:lnTo>
                    <a:pt x="2056" y="2753"/>
                  </a:lnTo>
                  <a:lnTo>
                    <a:pt x="2092" y="2691"/>
                  </a:lnTo>
                  <a:lnTo>
                    <a:pt x="2153" y="2691"/>
                  </a:lnTo>
                  <a:lnTo>
                    <a:pt x="2206" y="2709"/>
                  </a:lnTo>
                  <a:lnTo>
                    <a:pt x="2171" y="2753"/>
                  </a:lnTo>
                  <a:lnTo>
                    <a:pt x="2109" y="2797"/>
                  </a:lnTo>
                  <a:lnTo>
                    <a:pt x="2092" y="2868"/>
                  </a:lnTo>
                  <a:lnTo>
                    <a:pt x="2162" y="2859"/>
                  </a:lnTo>
                  <a:lnTo>
                    <a:pt x="2171" y="2938"/>
                  </a:lnTo>
                  <a:lnTo>
                    <a:pt x="2162" y="3009"/>
                  </a:lnTo>
                  <a:lnTo>
                    <a:pt x="2118" y="3027"/>
                  </a:lnTo>
                  <a:lnTo>
                    <a:pt x="2109" y="3071"/>
                  </a:lnTo>
                  <a:lnTo>
                    <a:pt x="2153" y="3124"/>
                  </a:lnTo>
                  <a:lnTo>
                    <a:pt x="2206" y="3168"/>
                  </a:lnTo>
                  <a:lnTo>
                    <a:pt x="2171" y="3230"/>
                  </a:lnTo>
                  <a:lnTo>
                    <a:pt x="2109" y="3256"/>
                  </a:lnTo>
                  <a:lnTo>
                    <a:pt x="2136" y="3300"/>
                  </a:lnTo>
                  <a:lnTo>
                    <a:pt x="2215" y="3300"/>
                  </a:lnTo>
                  <a:lnTo>
                    <a:pt x="2224" y="3362"/>
                  </a:lnTo>
                  <a:lnTo>
                    <a:pt x="2286" y="3406"/>
                  </a:lnTo>
                  <a:lnTo>
                    <a:pt x="2339" y="3362"/>
                  </a:lnTo>
                  <a:lnTo>
                    <a:pt x="2365" y="3309"/>
                  </a:lnTo>
                  <a:lnTo>
                    <a:pt x="2295" y="3291"/>
                  </a:lnTo>
                  <a:lnTo>
                    <a:pt x="2339" y="3256"/>
                  </a:lnTo>
                  <a:lnTo>
                    <a:pt x="2418" y="3256"/>
                  </a:lnTo>
                  <a:lnTo>
                    <a:pt x="2471" y="3247"/>
                  </a:lnTo>
                  <a:lnTo>
                    <a:pt x="2551" y="3238"/>
                  </a:lnTo>
                  <a:lnTo>
                    <a:pt x="2515" y="3291"/>
                  </a:lnTo>
                  <a:lnTo>
                    <a:pt x="2515" y="3353"/>
                  </a:lnTo>
                  <a:lnTo>
                    <a:pt x="2577" y="3371"/>
                  </a:lnTo>
                  <a:lnTo>
                    <a:pt x="2630" y="3344"/>
                  </a:lnTo>
                  <a:lnTo>
                    <a:pt x="2656" y="3309"/>
                  </a:lnTo>
                  <a:lnTo>
                    <a:pt x="2727" y="3380"/>
                  </a:lnTo>
                  <a:lnTo>
                    <a:pt x="2736" y="3318"/>
                  </a:lnTo>
                  <a:lnTo>
                    <a:pt x="2780" y="3291"/>
                  </a:lnTo>
                  <a:lnTo>
                    <a:pt x="2833" y="3336"/>
                  </a:lnTo>
                  <a:lnTo>
                    <a:pt x="2859" y="3388"/>
                  </a:lnTo>
                  <a:lnTo>
                    <a:pt x="2824" y="3424"/>
                  </a:lnTo>
                  <a:lnTo>
                    <a:pt x="2868" y="3503"/>
                  </a:lnTo>
                  <a:lnTo>
                    <a:pt x="2939" y="3433"/>
                  </a:lnTo>
                  <a:lnTo>
                    <a:pt x="3001" y="3468"/>
                  </a:lnTo>
                  <a:lnTo>
                    <a:pt x="3062" y="3450"/>
                  </a:lnTo>
                  <a:lnTo>
                    <a:pt x="3080" y="3380"/>
                  </a:lnTo>
                  <a:lnTo>
                    <a:pt x="3080" y="3336"/>
                  </a:lnTo>
                  <a:lnTo>
                    <a:pt x="3115" y="3300"/>
                  </a:lnTo>
                  <a:lnTo>
                    <a:pt x="3124" y="3247"/>
                  </a:lnTo>
                  <a:lnTo>
                    <a:pt x="3071" y="3212"/>
                  </a:lnTo>
                  <a:lnTo>
                    <a:pt x="2992" y="3185"/>
                  </a:lnTo>
                  <a:lnTo>
                    <a:pt x="3018" y="3141"/>
                  </a:lnTo>
                  <a:lnTo>
                    <a:pt x="2957" y="3088"/>
                  </a:lnTo>
                  <a:lnTo>
                    <a:pt x="2912" y="3035"/>
                  </a:lnTo>
                  <a:lnTo>
                    <a:pt x="2877" y="2974"/>
                  </a:lnTo>
                  <a:lnTo>
                    <a:pt x="2912" y="2938"/>
                  </a:lnTo>
                  <a:lnTo>
                    <a:pt x="2948" y="2885"/>
                  </a:lnTo>
                  <a:lnTo>
                    <a:pt x="2904" y="2859"/>
                  </a:lnTo>
                  <a:lnTo>
                    <a:pt x="2904" y="2797"/>
                  </a:lnTo>
                  <a:lnTo>
                    <a:pt x="2912" y="2727"/>
                  </a:lnTo>
                  <a:lnTo>
                    <a:pt x="2842" y="2700"/>
                  </a:lnTo>
                  <a:lnTo>
                    <a:pt x="2762" y="2665"/>
                  </a:lnTo>
                  <a:lnTo>
                    <a:pt x="2692" y="2621"/>
                  </a:lnTo>
                  <a:lnTo>
                    <a:pt x="2621" y="2585"/>
                  </a:lnTo>
                  <a:lnTo>
                    <a:pt x="2542" y="2577"/>
                  </a:lnTo>
                  <a:lnTo>
                    <a:pt x="2462" y="2515"/>
                  </a:lnTo>
                  <a:lnTo>
                    <a:pt x="2418" y="2435"/>
                  </a:lnTo>
                  <a:lnTo>
                    <a:pt x="2392" y="2365"/>
                  </a:lnTo>
                  <a:lnTo>
                    <a:pt x="2392" y="1650"/>
                  </a:lnTo>
                  <a:lnTo>
                    <a:pt x="2480" y="1633"/>
                  </a:lnTo>
                  <a:lnTo>
                    <a:pt x="2524" y="1597"/>
                  </a:lnTo>
                  <a:lnTo>
                    <a:pt x="2604" y="1615"/>
                  </a:lnTo>
                  <a:lnTo>
                    <a:pt x="2683" y="1606"/>
                  </a:lnTo>
                  <a:lnTo>
                    <a:pt x="2736" y="1562"/>
                  </a:lnTo>
                  <a:lnTo>
                    <a:pt x="2798" y="1518"/>
                  </a:lnTo>
                  <a:lnTo>
                    <a:pt x="2851" y="1544"/>
                  </a:lnTo>
                  <a:lnTo>
                    <a:pt x="2948" y="1483"/>
                  </a:lnTo>
                  <a:lnTo>
                    <a:pt x="2974" y="1447"/>
                  </a:lnTo>
                  <a:lnTo>
                    <a:pt x="3036" y="1456"/>
                  </a:lnTo>
                  <a:lnTo>
                    <a:pt x="3115" y="1500"/>
                  </a:lnTo>
                  <a:lnTo>
                    <a:pt x="3212" y="1500"/>
                  </a:lnTo>
                  <a:lnTo>
                    <a:pt x="3248" y="1535"/>
                  </a:lnTo>
                  <a:lnTo>
                    <a:pt x="3301" y="1553"/>
                  </a:lnTo>
                  <a:lnTo>
                    <a:pt x="3345" y="1509"/>
                  </a:lnTo>
                  <a:lnTo>
                    <a:pt x="3433" y="1509"/>
                  </a:lnTo>
                  <a:lnTo>
                    <a:pt x="3398" y="1447"/>
                  </a:lnTo>
                  <a:lnTo>
                    <a:pt x="3354" y="1403"/>
                  </a:lnTo>
                  <a:lnTo>
                    <a:pt x="3398" y="1368"/>
                  </a:lnTo>
                  <a:lnTo>
                    <a:pt x="3380" y="1306"/>
                  </a:lnTo>
                  <a:lnTo>
                    <a:pt x="3433" y="1280"/>
                  </a:lnTo>
                  <a:lnTo>
                    <a:pt x="3362" y="1244"/>
                  </a:lnTo>
                  <a:lnTo>
                    <a:pt x="3371" y="1191"/>
                  </a:lnTo>
                  <a:lnTo>
                    <a:pt x="3345" y="1138"/>
                  </a:lnTo>
                  <a:lnTo>
                    <a:pt x="3283" y="1094"/>
                  </a:lnTo>
                  <a:lnTo>
                    <a:pt x="3212" y="1077"/>
                  </a:lnTo>
                  <a:lnTo>
                    <a:pt x="3133" y="1041"/>
                  </a:lnTo>
                  <a:lnTo>
                    <a:pt x="3089" y="1103"/>
                  </a:lnTo>
                  <a:lnTo>
                    <a:pt x="3018" y="1059"/>
                  </a:lnTo>
                  <a:lnTo>
                    <a:pt x="2983" y="1094"/>
                  </a:lnTo>
                  <a:lnTo>
                    <a:pt x="2912" y="1094"/>
                  </a:lnTo>
                  <a:lnTo>
                    <a:pt x="2895" y="1041"/>
                  </a:lnTo>
                  <a:lnTo>
                    <a:pt x="2824" y="1041"/>
                  </a:lnTo>
                  <a:lnTo>
                    <a:pt x="2771" y="1077"/>
                  </a:lnTo>
                  <a:lnTo>
                    <a:pt x="2736" y="1033"/>
                  </a:lnTo>
                  <a:lnTo>
                    <a:pt x="2692" y="1041"/>
                  </a:lnTo>
                  <a:lnTo>
                    <a:pt x="2656" y="1077"/>
                  </a:lnTo>
                  <a:lnTo>
                    <a:pt x="2595" y="1085"/>
                  </a:lnTo>
                  <a:lnTo>
                    <a:pt x="2595" y="406"/>
                  </a:lnTo>
                  <a:lnTo>
                    <a:pt x="2551" y="371"/>
                  </a:lnTo>
                  <a:lnTo>
                    <a:pt x="2506" y="353"/>
                  </a:lnTo>
                  <a:lnTo>
                    <a:pt x="2409" y="362"/>
                  </a:lnTo>
                  <a:lnTo>
                    <a:pt x="2348" y="353"/>
                  </a:lnTo>
                  <a:lnTo>
                    <a:pt x="2295" y="282"/>
                  </a:lnTo>
                  <a:lnTo>
                    <a:pt x="2251" y="238"/>
                  </a:lnTo>
                  <a:lnTo>
                    <a:pt x="2189" y="212"/>
                  </a:lnTo>
                  <a:lnTo>
                    <a:pt x="2189" y="159"/>
                  </a:lnTo>
                  <a:lnTo>
                    <a:pt x="2242" y="124"/>
                  </a:lnTo>
                  <a:lnTo>
                    <a:pt x="2251" y="71"/>
                  </a:lnTo>
                  <a:lnTo>
                    <a:pt x="2242" y="0"/>
                  </a:lnTo>
                  <a:lnTo>
                    <a:pt x="2189" y="80"/>
                  </a:lnTo>
                  <a:lnTo>
                    <a:pt x="2101" y="97"/>
                  </a:lnTo>
                  <a:lnTo>
                    <a:pt x="1995" y="115"/>
                  </a:lnTo>
                  <a:lnTo>
                    <a:pt x="1942" y="115"/>
                  </a:lnTo>
                  <a:lnTo>
                    <a:pt x="1880" y="132"/>
                  </a:lnTo>
                  <a:lnTo>
                    <a:pt x="1827" y="177"/>
                  </a:lnTo>
                  <a:lnTo>
                    <a:pt x="1748" y="177"/>
                  </a:lnTo>
                  <a:lnTo>
                    <a:pt x="1695" y="203"/>
                  </a:lnTo>
                  <a:lnTo>
                    <a:pt x="1615" y="230"/>
                  </a:lnTo>
                  <a:lnTo>
                    <a:pt x="1553" y="221"/>
                  </a:lnTo>
                  <a:lnTo>
                    <a:pt x="1492" y="212"/>
                  </a:lnTo>
                  <a:lnTo>
                    <a:pt x="1412" y="230"/>
                  </a:lnTo>
                  <a:lnTo>
                    <a:pt x="1315" y="221"/>
                  </a:lnTo>
                  <a:lnTo>
                    <a:pt x="1271" y="291"/>
                  </a:lnTo>
                  <a:lnTo>
                    <a:pt x="1218" y="344"/>
                  </a:lnTo>
                  <a:lnTo>
                    <a:pt x="1130" y="344"/>
                  </a:lnTo>
                  <a:lnTo>
                    <a:pt x="1042" y="388"/>
                  </a:lnTo>
                  <a:lnTo>
                    <a:pt x="971" y="441"/>
                  </a:lnTo>
                  <a:lnTo>
                    <a:pt x="944" y="512"/>
                  </a:lnTo>
                  <a:lnTo>
                    <a:pt x="892" y="556"/>
                  </a:lnTo>
                  <a:lnTo>
                    <a:pt x="794" y="503"/>
                  </a:lnTo>
                  <a:lnTo>
                    <a:pt x="724" y="441"/>
                  </a:lnTo>
                  <a:lnTo>
                    <a:pt x="644" y="432"/>
                  </a:lnTo>
                  <a:lnTo>
                    <a:pt x="591" y="494"/>
                  </a:lnTo>
                  <a:lnTo>
                    <a:pt x="609" y="565"/>
                  </a:lnTo>
                  <a:lnTo>
                    <a:pt x="644" y="618"/>
                  </a:lnTo>
                  <a:lnTo>
                    <a:pt x="644" y="724"/>
                  </a:lnTo>
                  <a:lnTo>
                    <a:pt x="636" y="847"/>
                  </a:lnTo>
                  <a:lnTo>
                    <a:pt x="600" y="944"/>
                  </a:lnTo>
                  <a:lnTo>
                    <a:pt x="609" y="1033"/>
                  </a:lnTo>
                  <a:lnTo>
                    <a:pt x="636" y="1112"/>
                  </a:lnTo>
                  <a:lnTo>
                    <a:pt x="565" y="1103"/>
                  </a:lnTo>
                  <a:lnTo>
                    <a:pt x="539" y="1147"/>
                  </a:lnTo>
                  <a:lnTo>
                    <a:pt x="530" y="1200"/>
                  </a:lnTo>
                  <a:lnTo>
                    <a:pt x="494" y="1244"/>
                  </a:lnTo>
                  <a:lnTo>
                    <a:pt x="433" y="1280"/>
                  </a:lnTo>
                  <a:lnTo>
                    <a:pt x="380" y="1262"/>
                  </a:lnTo>
                  <a:lnTo>
                    <a:pt x="318" y="1315"/>
                  </a:lnTo>
                  <a:lnTo>
                    <a:pt x="327" y="1385"/>
                  </a:lnTo>
                  <a:lnTo>
                    <a:pt x="62" y="1597"/>
                  </a:lnTo>
                  <a:lnTo>
                    <a:pt x="0" y="1641"/>
                  </a:lnTo>
                  <a:lnTo>
                    <a:pt x="53" y="1641"/>
                  </a:lnTo>
                  <a:lnTo>
                    <a:pt x="62" y="1703"/>
                  </a:lnTo>
                  <a:lnTo>
                    <a:pt x="97" y="1738"/>
                  </a:lnTo>
                  <a:lnTo>
                    <a:pt x="141" y="1721"/>
                  </a:lnTo>
                  <a:lnTo>
                    <a:pt x="168" y="1791"/>
                  </a:lnTo>
                  <a:lnTo>
                    <a:pt x="168" y="1844"/>
                  </a:lnTo>
                  <a:lnTo>
                    <a:pt x="230" y="1827"/>
                  </a:lnTo>
                  <a:lnTo>
                    <a:pt x="256" y="1888"/>
                  </a:lnTo>
                  <a:lnTo>
                    <a:pt x="274" y="1950"/>
                  </a:lnTo>
                  <a:lnTo>
                    <a:pt x="327" y="1941"/>
                  </a:lnTo>
                  <a:lnTo>
                    <a:pt x="362" y="1985"/>
                  </a:lnTo>
                  <a:lnTo>
                    <a:pt x="406" y="1994"/>
                  </a:lnTo>
                  <a:lnTo>
                    <a:pt x="433" y="2038"/>
                  </a:lnTo>
                  <a:lnTo>
                    <a:pt x="477" y="2083"/>
                  </a:lnTo>
                  <a:lnTo>
                    <a:pt x="530" y="2109"/>
                  </a:lnTo>
                  <a:lnTo>
                    <a:pt x="583" y="2100"/>
                  </a:lnTo>
                  <a:lnTo>
                    <a:pt x="627" y="2118"/>
                  </a:lnTo>
                  <a:lnTo>
                    <a:pt x="662" y="2144"/>
                  </a:lnTo>
                  <a:lnTo>
                    <a:pt x="706" y="2118"/>
                  </a:lnTo>
                  <a:lnTo>
                    <a:pt x="741" y="2144"/>
                  </a:lnTo>
                  <a:lnTo>
                    <a:pt x="786" y="2118"/>
                  </a:lnTo>
                  <a:lnTo>
                    <a:pt x="839" y="2127"/>
                  </a:lnTo>
                  <a:lnTo>
                    <a:pt x="865" y="2171"/>
                  </a:lnTo>
                  <a:lnTo>
                    <a:pt x="918" y="2215"/>
                  </a:lnTo>
                </a:path>
              </a:pathLst>
            </a:custGeom>
            <a:solidFill>
              <a:srgbClr val="990033"/>
            </a:solidFill>
            <a:ln w="3175" cap="sq">
              <a:solidFill>
                <a:schemeClr val="bg2">
                  <a:lumMod val="7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4" name="88 Grupo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6588" y="3419252"/>
            <a:ext cx="3178175" cy="2801938"/>
            <a:chOff x="1682083" y="3764631"/>
            <a:chExt cx="3179578" cy="2801340"/>
          </a:xfrm>
        </p:grpSpPr>
        <p:sp>
          <p:nvSpPr>
            <p:cNvPr id="90" name="Freeform 18"/>
            <p:cNvSpPr>
              <a:spLocks noChangeArrowheads="1"/>
            </p:cNvSpPr>
            <p:nvPr/>
          </p:nvSpPr>
          <p:spPr bwMode="auto">
            <a:xfrm>
              <a:off x="2128367" y="3874146"/>
              <a:ext cx="609869" cy="623754"/>
            </a:xfrm>
            <a:custGeom>
              <a:avLst/>
              <a:gdLst/>
              <a:ahLst/>
              <a:cxnLst>
                <a:cxn ang="0">
                  <a:pos x="1951" y="441"/>
                </a:cxn>
                <a:cxn ang="0">
                  <a:pos x="2012" y="635"/>
                </a:cxn>
                <a:cxn ang="0">
                  <a:pos x="2065" y="856"/>
                </a:cxn>
                <a:cxn ang="0">
                  <a:pos x="2162" y="1014"/>
                </a:cxn>
                <a:cxn ang="0">
                  <a:pos x="2118" y="1156"/>
                </a:cxn>
                <a:cxn ang="0">
                  <a:pos x="1942" y="1332"/>
                </a:cxn>
                <a:cxn ang="0">
                  <a:pos x="1880" y="1588"/>
                </a:cxn>
                <a:cxn ang="0">
                  <a:pos x="1818" y="1853"/>
                </a:cxn>
                <a:cxn ang="0">
                  <a:pos x="1712" y="1994"/>
                </a:cxn>
                <a:cxn ang="0">
                  <a:pos x="1492" y="1906"/>
                </a:cxn>
                <a:cxn ang="0">
                  <a:pos x="1271" y="1914"/>
                </a:cxn>
                <a:cxn ang="0">
                  <a:pos x="1253" y="2100"/>
                </a:cxn>
                <a:cxn ang="0">
                  <a:pos x="989" y="2153"/>
                </a:cxn>
                <a:cxn ang="0">
                  <a:pos x="874" y="2214"/>
                </a:cxn>
                <a:cxn ang="0">
                  <a:pos x="645" y="2170"/>
                </a:cxn>
                <a:cxn ang="0">
                  <a:pos x="406" y="2153"/>
                </a:cxn>
                <a:cxn ang="0">
                  <a:pos x="274" y="2082"/>
                </a:cxn>
                <a:cxn ang="0">
                  <a:pos x="115" y="1994"/>
                </a:cxn>
                <a:cxn ang="0">
                  <a:pos x="97" y="1906"/>
                </a:cxn>
                <a:cxn ang="0">
                  <a:pos x="247" y="1809"/>
                </a:cxn>
                <a:cxn ang="0">
                  <a:pos x="362" y="1597"/>
                </a:cxn>
                <a:cxn ang="0">
                  <a:pos x="477" y="1500"/>
                </a:cxn>
                <a:cxn ang="0">
                  <a:pos x="521" y="1394"/>
                </a:cxn>
                <a:cxn ang="0">
                  <a:pos x="556" y="1314"/>
                </a:cxn>
                <a:cxn ang="0">
                  <a:pos x="574" y="1253"/>
                </a:cxn>
                <a:cxn ang="0">
                  <a:pos x="547" y="1235"/>
                </a:cxn>
                <a:cxn ang="0">
                  <a:pos x="442" y="1288"/>
                </a:cxn>
                <a:cxn ang="0">
                  <a:pos x="265" y="1235"/>
                </a:cxn>
                <a:cxn ang="0">
                  <a:pos x="292" y="1103"/>
                </a:cxn>
                <a:cxn ang="0">
                  <a:pos x="159" y="1191"/>
                </a:cxn>
                <a:cxn ang="0">
                  <a:pos x="53" y="1103"/>
                </a:cxn>
                <a:cxn ang="0">
                  <a:pos x="159" y="1014"/>
                </a:cxn>
                <a:cxn ang="0">
                  <a:pos x="283" y="917"/>
                </a:cxn>
                <a:cxn ang="0">
                  <a:pos x="530" y="997"/>
                </a:cxn>
                <a:cxn ang="0">
                  <a:pos x="777" y="1076"/>
                </a:cxn>
                <a:cxn ang="0">
                  <a:pos x="997" y="1094"/>
                </a:cxn>
                <a:cxn ang="0">
                  <a:pos x="1227" y="988"/>
                </a:cxn>
                <a:cxn ang="0">
                  <a:pos x="1183" y="864"/>
                </a:cxn>
                <a:cxn ang="0">
                  <a:pos x="1112" y="644"/>
                </a:cxn>
                <a:cxn ang="0">
                  <a:pos x="1289" y="406"/>
                </a:cxn>
                <a:cxn ang="0">
                  <a:pos x="1456" y="229"/>
                </a:cxn>
                <a:cxn ang="0">
                  <a:pos x="1580" y="9"/>
                </a:cxn>
                <a:cxn ang="0">
                  <a:pos x="1765" y="97"/>
                </a:cxn>
                <a:cxn ang="0">
                  <a:pos x="1845" y="229"/>
                </a:cxn>
                <a:cxn ang="0">
                  <a:pos x="2012" y="300"/>
                </a:cxn>
              </a:cxnLst>
              <a:rect l="0" t="0" r="r" b="b"/>
              <a:pathLst>
                <a:path w="2190" h="2215">
                  <a:moveTo>
                    <a:pt x="2039" y="388"/>
                  </a:moveTo>
                  <a:lnTo>
                    <a:pt x="1986" y="397"/>
                  </a:lnTo>
                  <a:lnTo>
                    <a:pt x="1951" y="441"/>
                  </a:lnTo>
                  <a:lnTo>
                    <a:pt x="1968" y="511"/>
                  </a:lnTo>
                  <a:lnTo>
                    <a:pt x="1977" y="582"/>
                  </a:lnTo>
                  <a:lnTo>
                    <a:pt x="2012" y="635"/>
                  </a:lnTo>
                  <a:lnTo>
                    <a:pt x="2056" y="688"/>
                  </a:lnTo>
                  <a:lnTo>
                    <a:pt x="2039" y="759"/>
                  </a:lnTo>
                  <a:lnTo>
                    <a:pt x="2065" y="856"/>
                  </a:lnTo>
                  <a:lnTo>
                    <a:pt x="2065" y="935"/>
                  </a:lnTo>
                  <a:lnTo>
                    <a:pt x="2101" y="997"/>
                  </a:lnTo>
                  <a:lnTo>
                    <a:pt x="2162" y="1014"/>
                  </a:lnTo>
                  <a:lnTo>
                    <a:pt x="2189" y="1059"/>
                  </a:lnTo>
                  <a:lnTo>
                    <a:pt x="2162" y="1111"/>
                  </a:lnTo>
                  <a:lnTo>
                    <a:pt x="2118" y="1156"/>
                  </a:lnTo>
                  <a:lnTo>
                    <a:pt x="2030" y="1173"/>
                  </a:lnTo>
                  <a:lnTo>
                    <a:pt x="1959" y="1235"/>
                  </a:lnTo>
                  <a:lnTo>
                    <a:pt x="1942" y="1332"/>
                  </a:lnTo>
                  <a:lnTo>
                    <a:pt x="1915" y="1438"/>
                  </a:lnTo>
                  <a:lnTo>
                    <a:pt x="1871" y="1500"/>
                  </a:lnTo>
                  <a:lnTo>
                    <a:pt x="1880" y="1588"/>
                  </a:lnTo>
                  <a:lnTo>
                    <a:pt x="1845" y="1676"/>
                  </a:lnTo>
                  <a:lnTo>
                    <a:pt x="1836" y="1764"/>
                  </a:lnTo>
                  <a:lnTo>
                    <a:pt x="1818" y="1853"/>
                  </a:lnTo>
                  <a:lnTo>
                    <a:pt x="1783" y="1923"/>
                  </a:lnTo>
                  <a:lnTo>
                    <a:pt x="1765" y="1994"/>
                  </a:lnTo>
                  <a:lnTo>
                    <a:pt x="1712" y="1994"/>
                  </a:lnTo>
                  <a:lnTo>
                    <a:pt x="1633" y="1967"/>
                  </a:lnTo>
                  <a:lnTo>
                    <a:pt x="1562" y="1906"/>
                  </a:lnTo>
                  <a:lnTo>
                    <a:pt x="1492" y="1906"/>
                  </a:lnTo>
                  <a:lnTo>
                    <a:pt x="1403" y="1932"/>
                  </a:lnTo>
                  <a:lnTo>
                    <a:pt x="1333" y="1879"/>
                  </a:lnTo>
                  <a:lnTo>
                    <a:pt x="1271" y="1914"/>
                  </a:lnTo>
                  <a:lnTo>
                    <a:pt x="1262" y="1967"/>
                  </a:lnTo>
                  <a:lnTo>
                    <a:pt x="1253" y="2038"/>
                  </a:lnTo>
                  <a:lnTo>
                    <a:pt x="1253" y="2100"/>
                  </a:lnTo>
                  <a:lnTo>
                    <a:pt x="1174" y="2117"/>
                  </a:lnTo>
                  <a:lnTo>
                    <a:pt x="1068" y="2117"/>
                  </a:lnTo>
                  <a:lnTo>
                    <a:pt x="989" y="2153"/>
                  </a:lnTo>
                  <a:lnTo>
                    <a:pt x="936" y="2117"/>
                  </a:lnTo>
                  <a:lnTo>
                    <a:pt x="918" y="2170"/>
                  </a:lnTo>
                  <a:lnTo>
                    <a:pt x="874" y="2214"/>
                  </a:lnTo>
                  <a:lnTo>
                    <a:pt x="795" y="2206"/>
                  </a:lnTo>
                  <a:lnTo>
                    <a:pt x="706" y="2135"/>
                  </a:lnTo>
                  <a:lnTo>
                    <a:pt x="645" y="2170"/>
                  </a:lnTo>
                  <a:lnTo>
                    <a:pt x="556" y="2153"/>
                  </a:lnTo>
                  <a:lnTo>
                    <a:pt x="477" y="2135"/>
                  </a:lnTo>
                  <a:lnTo>
                    <a:pt x="406" y="2153"/>
                  </a:lnTo>
                  <a:lnTo>
                    <a:pt x="380" y="2091"/>
                  </a:lnTo>
                  <a:lnTo>
                    <a:pt x="318" y="2056"/>
                  </a:lnTo>
                  <a:lnTo>
                    <a:pt x="274" y="2082"/>
                  </a:lnTo>
                  <a:lnTo>
                    <a:pt x="221" y="2038"/>
                  </a:lnTo>
                  <a:lnTo>
                    <a:pt x="186" y="1976"/>
                  </a:lnTo>
                  <a:lnTo>
                    <a:pt x="115" y="1994"/>
                  </a:lnTo>
                  <a:lnTo>
                    <a:pt x="36" y="2038"/>
                  </a:lnTo>
                  <a:lnTo>
                    <a:pt x="44" y="1967"/>
                  </a:lnTo>
                  <a:lnTo>
                    <a:pt x="97" y="1906"/>
                  </a:lnTo>
                  <a:lnTo>
                    <a:pt x="150" y="1862"/>
                  </a:lnTo>
                  <a:lnTo>
                    <a:pt x="194" y="1835"/>
                  </a:lnTo>
                  <a:lnTo>
                    <a:pt x="247" y="1809"/>
                  </a:lnTo>
                  <a:lnTo>
                    <a:pt x="256" y="1720"/>
                  </a:lnTo>
                  <a:lnTo>
                    <a:pt x="292" y="1659"/>
                  </a:lnTo>
                  <a:lnTo>
                    <a:pt x="362" y="1597"/>
                  </a:lnTo>
                  <a:lnTo>
                    <a:pt x="424" y="1579"/>
                  </a:lnTo>
                  <a:lnTo>
                    <a:pt x="433" y="1526"/>
                  </a:lnTo>
                  <a:lnTo>
                    <a:pt x="477" y="1500"/>
                  </a:lnTo>
                  <a:lnTo>
                    <a:pt x="424" y="1447"/>
                  </a:lnTo>
                  <a:lnTo>
                    <a:pt x="442" y="1385"/>
                  </a:lnTo>
                  <a:lnTo>
                    <a:pt x="521" y="1394"/>
                  </a:lnTo>
                  <a:lnTo>
                    <a:pt x="530" y="1314"/>
                  </a:lnTo>
                  <a:lnTo>
                    <a:pt x="530" y="1314"/>
                  </a:lnTo>
                  <a:lnTo>
                    <a:pt x="556" y="1314"/>
                  </a:lnTo>
                  <a:lnTo>
                    <a:pt x="574" y="1297"/>
                  </a:lnTo>
                  <a:lnTo>
                    <a:pt x="583" y="1270"/>
                  </a:lnTo>
                  <a:lnTo>
                    <a:pt x="574" y="1253"/>
                  </a:lnTo>
                  <a:lnTo>
                    <a:pt x="574" y="1253"/>
                  </a:lnTo>
                  <a:lnTo>
                    <a:pt x="556" y="1244"/>
                  </a:lnTo>
                  <a:lnTo>
                    <a:pt x="547" y="1235"/>
                  </a:lnTo>
                  <a:lnTo>
                    <a:pt x="530" y="1235"/>
                  </a:lnTo>
                  <a:lnTo>
                    <a:pt x="512" y="1244"/>
                  </a:lnTo>
                  <a:lnTo>
                    <a:pt x="442" y="1288"/>
                  </a:lnTo>
                  <a:lnTo>
                    <a:pt x="353" y="1314"/>
                  </a:lnTo>
                  <a:lnTo>
                    <a:pt x="300" y="1297"/>
                  </a:lnTo>
                  <a:lnTo>
                    <a:pt x="265" y="1235"/>
                  </a:lnTo>
                  <a:lnTo>
                    <a:pt x="318" y="1182"/>
                  </a:lnTo>
                  <a:lnTo>
                    <a:pt x="362" y="1111"/>
                  </a:lnTo>
                  <a:lnTo>
                    <a:pt x="292" y="1103"/>
                  </a:lnTo>
                  <a:lnTo>
                    <a:pt x="239" y="1156"/>
                  </a:lnTo>
                  <a:lnTo>
                    <a:pt x="212" y="1217"/>
                  </a:lnTo>
                  <a:lnTo>
                    <a:pt x="159" y="1191"/>
                  </a:lnTo>
                  <a:lnTo>
                    <a:pt x="124" y="1138"/>
                  </a:lnTo>
                  <a:lnTo>
                    <a:pt x="106" y="1076"/>
                  </a:lnTo>
                  <a:lnTo>
                    <a:pt x="53" y="1103"/>
                  </a:lnTo>
                  <a:lnTo>
                    <a:pt x="0" y="1023"/>
                  </a:lnTo>
                  <a:lnTo>
                    <a:pt x="89" y="988"/>
                  </a:lnTo>
                  <a:lnTo>
                    <a:pt x="159" y="1014"/>
                  </a:lnTo>
                  <a:lnTo>
                    <a:pt x="212" y="935"/>
                  </a:lnTo>
                  <a:lnTo>
                    <a:pt x="239" y="970"/>
                  </a:lnTo>
                  <a:lnTo>
                    <a:pt x="283" y="917"/>
                  </a:lnTo>
                  <a:lnTo>
                    <a:pt x="371" y="917"/>
                  </a:lnTo>
                  <a:lnTo>
                    <a:pt x="442" y="944"/>
                  </a:lnTo>
                  <a:lnTo>
                    <a:pt x="530" y="997"/>
                  </a:lnTo>
                  <a:lnTo>
                    <a:pt x="574" y="1032"/>
                  </a:lnTo>
                  <a:lnTo>
                    <a:pt x="689" y="1006"/>
                  </a:lnTo>
                  <a:lnTo>
                    <a:pt x="777" y="1076"/>
                  </a:lnTo>
                  <a:lnTo>
                    <a:pt x="847" y="1120"/>
                  </a:lnTo>
                  <a:lnTo>
                    <a:pt x="953" y="1156"/>
                  </a:lnTo>
                  <a:lnTo>
                    <a:pt x="997" y="1094"/>
                  </a:lnTo>
                  <a:lnTo>
                    <a:pt x="1130" y="1094"/>
                  </a:lnTo>
                  <a:lnTo>
                    <a:pt x="1165" y="1014"/>
                  </a:lnTo>
                  <a:lnTo>
                    <a:pt x="1227" y="988"/>
                  </a:lnTo>
                  <a:lnTo>
                    <a:pt x="1289" y="970"/>
                  </a:lnTo>
                  <a:lnTo>
                    <a:pt x="1271" y="900"/>
                  </a:lnTo>
                  <a:lnTo>
                    <a:pt x="1183" y="864"/>
                  </a:lnTo>
                  <a:lnTo>
                    <a:pt x="1165" y="811"/>
                  </a:lnTo>
                  <a:lnTo>
                    <a:pt x="1130" y="741"/>
                  </a:lnTo>
                  <a:lnTo>
                    <a:pt x="1112" y="644"/>
                  </a:lnTo>
                  <a:lnTo>
                    <a:pt x="1183" y="644"/>
                  </a:lnTo>
                  <a:lnTo>
                    <a:pt x="1200" y="573"/>
                  </a:lnTo>
                  <a:lnTo>
                    <a:pt x="1289" y="406"/>
                  </a:lnTo>
                  <a:lnTo>
                    <a:pt x="1350" y="300"/>
                  </a:lnTo>
                  <a:lnTo>
                    <a:pt x="1377" y="256"/>
                  </a:lnTo>
                  <a:lnTo>
                    <a:pt x="1456" y="229"/>
                  </a:lnTo>
                  <a:lnTo>
                    <a:pt x="1536" y="141"/>
                  </a:lnTo>
                  <a:lnTo>
                    <a:pt x="1598" y="61"/>
                  </a:lnTo>
                  <a:lnTo>
                    <a:pt x="1580" y="9"/>
                  </a:lnTo>
                  <a:lnTo>
                    <a:pt x="1642" y="0"/>
                  </a:lnTo>
                  <a:lnTo>
                    <a:pt x="1712" y="35"/>
                  </a:lnTo>
                  <a:lnTo>
                    <a:pt x="1765" y="97"/>
                  </a:lnTo>
                  <a:lnTo>
                    <a:pt x="1783" y="132"/>
                  </a:lnTo>
                  <a:lnTo>
                    <a:pt x="1871" y="132"/>
                  </a:lnTo>
                  <a:lnTo>
                    <a:pt x="1845" y="229"/>
                  </a:lnTo>
                  <a:lnTo>
                    <a:pt x="1898" y="273"/>
                  </a:lnTo>
                  <a:lnTo>
                    <a:pt x="1951" y="282"/>
                  </a:lnTo>
                  <a:lnTo>
                    <a:pt x="2012" y="300"/>
                  </a:lnTo>
                  <a:lnTo>
                    <a:pt x="2039" y="388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1" name="Freeform 20"/>
            <p:cNvSpPr>
              <a:spLocks noChangeArrowheads="1"/>
            </p:cNvSpPr>
            <p:nvPr/>
          </p:nvSpPr>
          <p:spPr bwMode="auto">
            <a:xfrm>
              <a:off x="2619121" y="3764631"/>
              <a:ext cx="514577" cy="742791"/>
            </a:xfrm>
            <a:custGeom>
              <a:avLst/>
              <a:gdLst/>
              <a:ahLst/>
              <a:cxnLst>
                <a:cxn ang="0">
                  <a:pos x="1845" y="1536"/>
                </a:cxn>
                <a:cxn ang="0">
                  <a:pos x="1792" y="1395"/>
                </a:cxn>
                <a:cxn ang="0">
                  <a:pos x="1845" y="1262"/>
                </a:cxn>
                <a:cxn ang="0">
                  <a:pos x="1756" y="1156"/>
                </a:cxn>
                <a:cxn ang="0">
                  <a:pos x="1642" y="1218"/>
                </a:cxn>
                <a:cxn ang="0">
                  <a:pos x="1527" y="1156"/>
                </a:cxn>
                <a:cxn ang="0">
                  <a:pos x="1403" y="1033"/>
                </a:cxn>
                <a:cxn ang="0">
                  <a:pos x="1448" y="865"/>
                </a:cxn>
                <a:cxn ang="0">
                  <a:pos x="1439" y="750"/>
                </a:cxn>
                <a:cxn ang="0">
                  <a:pos x="1456" y="600"/>
                </a:cxn>
                <a:cxn ang="0">
                  <a:pos x="1465" y="459"/>
                </a:cxn>
                <a:cxn ang="0">
                  <a:pos x="1527" y="353"/>
                </a:cxn>
                <a:cxn ang="0">
                  <a:pos x="1545" y="239"/>
                </a:cxn>
                <a:cxn ang="0">
                  <a:pos x="1509" y="124"/>
                </a:cxn>
                <a:cxn ang="0">
                  <a:pos x="1483" y="0"/>
                </a:cxn>
                <a:cxn ang="0">
                  <a:pos x="1333" y="18"/>
                </a:cxn>
                <a:cxn ang="0">
                  <a:pos x="1156" y="36"/>
                </a:cxn>
                <a:cxn ang="0">
                  <a:pos x="1050" y="150"/>
                </a:cxn>
                <a:cxn ang="0">
                  <a:pos x="927" y="203"/>
                </a:cxn>
                <a:cxn ang="0">
                  <a:pos x="794" y="248"/>
                </a:cxn>
                <a:cxn ang="0">
                  <a:pos x="812" y="406"/>
                </a:cxn>
                <a:cxn ang="0">
                  <a:pos x="821" y="512"/>
                </a:cxn>
                <a:cxn ang="0">
                  <a:pos x="759" y="636"/>
                </a:cxn>
                <a:cxn ang="0">
                  <a:pos x="786" y="724"/>
                </a:cxn>
                <a:cxn ang="0">
                  <a:pos x="680" y="812"/>
                </a:cxn>
                <a:cxn ang="0">
                  <a:pos x="547" y="945"/>
                </a:cxn>
                <a:cxn ang="0">
                  <a:pos x="539" y="1077"/>
                </a:cxn>
                <a:cxn ang="0">
                  <a:pos x="433" y="1271"/>
                </a:cxn>
                <a:cxn ang="0">
                  <a:pos x="397" y="1403"/>
                </a:cxn>
                <a:cxn ang="0">
                  <a:pos x="397" y="1500"/>
                </a:cxn>
                <a:cxn ang="0">
                  <a:pos x="265" y="1562"/>
                </a:cxn>
                <a:cxn ang="0">
                  <a:pos x="177" y="1721"/>
                </a:cxn>
                <a:cxn ang="0">
                  <a:pos x="106" y="1889"/>
                </a:cxn>
                <a:cxn ang="0">
                  <a:pos x="80" y="2065"/>
                </a:cxn>
                <a:cxn ang="0">
                  <a:pos x="53" y="2242"/>
                </a:cxn>
                <a:cxn ang="0">
                  <a:pos x="0" y="2383"/>
                </a:cxn>
                <a:cxn ang="0">
                  <a:pos x="18" y="2542"/>
                </a:cxn>
                <a:cxn ang="0">
                  <a:pos x="159" y="2630"/>
                </a:cxn>
                <a:cxn ang="0">
                  <a:pos x="283" y="2568"/>
                </a:cxn>
                <a:cxn ang="0">
                  <a:pos x="389" y="2551"/>
                </a:cxn>
                <a:cxn ang="0">
                  <a:pos x="503" y="2453"/>
                </a:cxn>
                <a:cxn ang="0">
                  <a:pos x="609" y="2392"/>
                </a:cxn>
                <a:cxn ang="0">
                  <a:pos x="653" y="2277"/>
                </a:cxn>
                <a:cxn ang="0">
                  <a:pos x="794" y="2171"/>
                </a:cxn>
                <a:cxn ang="0">
                  <a:pos x="945" y="2145"/>
                </a:cxn>
                <a:cxn ang="0">
                  <a:pos x="1042" y="2136"/>
                </a:cxn>
                <a:cxn ang="0">
                  <a:pos x="1209" y="2092"/>
                </a:cxn>
                <a:cxn ang="0">
                  <a:pos x="1209" y="2180"/>
                </a:cxn>
                <a:cxn ang="0">
                  <a:pos x="1245" y="2268"/>
                </a:cxn>
                <a:cxn ang="0">
                  <a:pos x="1430" y="2233"/>
                </a:cxn>
                <a:cxn ang="0">
                  <a:pos x="1509" y="2109"/>
                </a:cxn>
                <a:cxn ang="0">
                  <a:pos x="1553" y="1986"/>
                </a:cxn>
                <a:cxn ang="0">
                  <a:pos x="1598" y="1871"/>
                </a:cxn>
                <a:cxn ang="0">
                  <a:pos x="1712" y="1774"/>
                </a:cxn>
                <a:cxn ang="0">
                  <a:pos x="1792" y="1650"/>
                </a:cxn>
              </a:cxnLst>
              <a:rect l="0" t="0" r="r" b="b"/>
              <a:pathLst>
                <a:path w="1846" h="2631">
                  <a:moveTo>
                    <a:pt x="1792" y="1650"/>
                  </a:moveTo>
                  <a:lnTo>
                    <a:pt x="1845" y="1536"/>
                  </a:lnTo>
                  <a:lnTo>
                    <a:pt x="1809" y="1474"/>
                  </a:lnTo>
                  <a:lnTo>
                    <a:pt x="1792" y="1395"/>
                  </a:lnTo>
                  <a:lnTo>
                    <a:pt x="1845" y="1342"/>
                  </a:lnTo>
                  <a:lnTo>
                    <a:pt x="1845" y="1262"/>
                  </a:lnTo>
                  <a:lnTo>
                    <a:pt x="1809" y="1209"/>
                  </a:lnTo>
                  <a:lnTo>
                    <a:pt x="1756" y="1156"/>
                  </a:lnTo>
                  <a:lnTo>
                    <a:pt x="1703" y="1183"/>
                  </a:lnTo>
                  <a:lnTo>
                    <a:pt x="1642" y="1218"/>
                  </a:lnTo>
                  <a:lnTo>
                    <a:pt x="1571" y="1209"/>
                  </a:lnTo>
                  <a:lnTo>
                    <a:pt x="1527" y="1156"/>
                  </a:lnTo>
                  <a:lnTo>
                    <a:pt x="1456" y="1139"/>
                  </a:lnTo>
                  <a:lnTo>
                    <a:pt x="1403" y="1033"/>
                  </a:lnTo>
                  <a:lnTo>
                    <a:pt x="1430" y="962"/>
                  </a:lnTo>
                  <a:lnTo>
                    <a:pt x="1448" y="865"/>
                  </a:lnTo>
                  <a:lnTo>
                    <a:pt x="1439" y="830"/>
                  </a:lnTo>
                  <a:lnTo>
                    <a:pt x="1439" y="750"/>
                  </a:lnTo>
                  <a:lnTo>
                    <a:pt x="1439" y="671"/>
                  </a:lnTo>
                  <a:lnTo>
                    <a:pt x="1456" y="600"/>
                  </a:lnTo>
                  <a:lnTo>
                    <a:pt x="1483" y="521"/>
                  </a:lnTo>
                  <a:lnTo>
                    <a:pt x="1465" y="459"/>
                  </a:lnTo>
                  <a:lnTo>
                    <a:pt x="1483" y="398"/>
                  </a:lnTo>
                  <a:lnTo>
                    <a:pt x="1527" y="353"/>
                  </a:lnTo>
                  <a:lnTo>
                    <a:pt x="1509" y="283"/>
                  </a:lnTo>
                  <a:lnTo>
                    <a:pt x="1545" y="239"/>
                  </a:lnTo>
                  <a:lnTo>
                    <a:pt x="1518" y="186"/>
                  </a:lnTo>
                  <a:lnTo>
                    <a:pt x="1509" y="124"/>
                  </a:lnTo>
                  <a:lnTo>
                    <a:pt x="1509" y="45"/>
                  </a:lnTo>
                  <a:lnTo>
                    <a:pt x="1483" y="0"/>
                  </a:lnTo>
                  <a:lnTo>
                    <a:pt x="1448" y="18"/>
                  </a:lnTo>
                  <a:lnTo>
                    <a:pt x="1333" y="18"/>
                  </a:lnTo>
                  <a:lnTo>
                    <a:pt x="1227" y="9"/>
                  </a:lnTo>
                  <a:lnTo>
                    <a:pt x="1156" y="36"/>
                  </a:lnTo>
                  <a:lnTo>
                    <a:pt x="1112" y="80"/>
                  </a:lnTo>
                  <a:lnTo>
                    <a:pt x="1050" y="150"/>
                  </a:lnTo>
                  <a:lnTo>
                    <a:pt x="971" y="168"/>
                  </a:lnTo>
                  <a:lnTo>
                    <a:pt x="927" y="203"/>
                  </a:lnTo>
                  <a:lnTo>
                    <a:pt x="839" y="203"/>
                  </a:lnTo>
                  <a:lnTo>
                    <a:pt x="794" y="248"/>
                  </a:lnTo>
                  <a:lnTo>
                    <a:pt x="830" y="336"/>
                  </a:lnTo>
                  <a:lnTo>
                    <a:pt x="812" y="406"/>
                  </a:lnTo>
                  <a:lnTo>
                    <a:pt x="812" y="459"/>
                  </a:lnTo>
                  <a:lnTo>
                    <a:pt x="821" y="512"/>
                  </a:lnTo>
                  <a:lnTo>
                    <a:pt x="759" y="556"/>
                  </a:lnTo>
                  <a:lnTo>
                    <a:pt x="759" y="636"/>
                  </a:lnTo>
                  <a:lnTo>
                    <a:pt x="733" y="680"/>
                  </a:lnTo>
                  <a:lnTo>
                    <a:pt x="786" y="724"/>
                  </a:lnTo>
                  <a:lnTo>
                    <a:pt x="750" y="777"/>
                  </a:lnTo>
                  <a:lnTo>
                    <a:pt x="680" y="812"/>
                  </a:lnTo>
                  <a:lnTo>
                    <a:pt x="609" y="883"/>
                  </a:lnTo>
                  <a:lnTo>
                    <a:pt x="547" y="945"/>
                  </a:lnTo>
                  <a:lnTo>
                    <a:pt x="530" y="1015"/>
                  </a:lnTo>
                  <a:lnTo>
                    <a:pt x="539" y="1077"/>
                  </a:lnTo>
                  <a:lnTo>
                    <a:pt x="486" y="1174"/>
                  </a:lnTo>
                  <a:lnTo>
                    <a:pt x="433" y="1271"/>
                  </a:lnTo>
                  <a:lnTo>
                    <a:pt x="406" y="1333"/>
                  </a:lnTo>
                  <a:lnTo>
                    <a:pt x="397" y="1403"/>
                  </a:lnTo>
                  <a:lnTo>
                    <a:pt x="424" y="1448"/>
                  </a:lnTo>
                  <a:lnTo>
                    <a:pt x="397" y="1500"/>
                  </a:lnTo>
                  <a:lnTo>
                    <a:pt x="353" y="1545"/>
                  </a:lnTo>
                  <a:lnTo>
                    <a:pt x="265" y="1562"/>
                  </a:lnTo>
                  <a:lnTo>
                    <a:pt x="194" y="1624"/>
                  </a:lnTo>
                  <a:lnTo>
                    <a:pt x="177" y="1721"/>
                  </a:lnTo>
                  <a:lnTo>
                    <a:pt x="150" y="1827"/>
                  </a:lnTo>
                  <a:lnTo>
                    <a:pt x="106" y="1889"/>
                  </a:lnTo>
                  <a:lnTo>
                    <a:pt x="115" y="1977"/>
                  </a:lnTo>
                  <a:lnTo>
                    <a:pt x="80" y="2065"/>
                  </a:lnTo>
                  <a:lnTo>
                    <a:pt x="71" y="2153"/>
                  </a:lnTo>
                  <a:lnTo>
                    <a:pt x="53" y="2242"/>
                  </a:lnTo>
                  <a:lnTo>
                    <a:pt x="18" y="2312"/>
                  </a:lnTo>
                  <a:lnTo>
                    <a:pt x="0" y="2383"/>
                  </a:lnTo>
                  <a:lnTo>
                    <a:pt x="9" y="2480"/>
                  </a:lnTo>
                  <a:lnTo>
                    <a:pt x="18" y="2542"/>
                  </a:lnTo>
                  <a:lnTo>
                    <a:pt x="62" y="2603"/>
                  </a:lnTo>
                  <a:lnTo>
                    <a:pt x="159" y="2630"/>
                  </a:lnTo>
                  <a:lnTo>
                    <a:pt x="247" y="2621"/>
                  </a:lnTo>
                  <a:lnTo>
                    <a:pt x="283" y="2568"/>
                  </a:lnTo>
                  <a:lnTo>
                    <a:pt x="327" y="2533"/>
                  </a:lnTo>
                  <a:lnTo>
                    <a:pt x="389" y="2551"/>
                  </a:lnTo>
                  <a:lnTo>
                    <a:pt x="433" y="2480"/>
                  </a:lnTo>
                  <a:lnTo>
                    <a:pt x="503" y="2453"/>
                  </a:lnTo>
                  <a:lnTo>
                    <a:pt x="592" y="2436"/>
                  </a:lnTo>
                  <a:lnTo>
                    <a:pt x="609" y="2392"/>
                  </a:lnTo>
                  <a:lnTo>
                    <a:pt x="592" y="2330"/>
                  </a:lnTo>
                  <a:lnTo>
                    <a:pt x="653" y="2277"/>
                  </a:lnTo>
                  <a:lnTo>
                    <a:pt x="724" y="2233"/>
                  </a:lnTo>
                  <a:lnTo>
                    <a:pt x="794" y="2171"/>
                  </a:lnTo>
                  <a:lnTo>
                    <a:pt x="847" y="2136"/>
                  </a:lnTo>
                  <a:lnTo>
                    <a:pt x="945" y="2145"/>
                  </a:lnTo>
                  <a:lnTo>
                    <a:pt x="989" y="2189"/>
                  </a:lnTo>
                  <a:lnTo>
                    <a:pt x="1042" y="2136"/>
                  </a:lnTo>
                  <a:lnTo>
                    <a:pt x="1130" y="2100"/>
                  </a:lnTo>
                  <a:lnTo>
                    <a:pt x="1209" y="2092"/>
                  </a:lnTo>
                  <a:lnTo>
                    <a:pt x="1262" y="2145"/>
                  </a:lnTo>
                  <a:lnTo>
                    <a:pt x="1209" y="2180"/>
                  </a:lnTo>
                  <a:lnTo>
                    <a:pt x="1183" y="2233"/>
                  </a:lnTo>
                  <a:lnTo>
                    <a:pt x="1245" y="2268"/>
                  </a:lnTo>
                  <a:lnTo>
                    <a:pt x="1359" y="2268"/>
                  </a:lnTo>
                  <a:lnTo>
                    <a:pt x="1430" y="2233"/>
                  </a:lnTo>
                  <a:lnTo>
                    <a:pt x="1465" y="2180"/>
                  </a:lnTo>
                  <a:lnTo>
                    <a:pt x="1509" y="2109"/>
                  </a:lnTo>
                  <a:lnTo>
                    <a:pt x="1553" y="2048"/>
                  </a:lnTo>
                  <a:lnTo>
                    <a:pt x="1553" y="1986"/>
                  </a:lnTo>
                  <a:lnTo>
                    <a:pt x="1580" y="1942"/>
                  </a:lnTo>
                  <a:lnTo>
                    <a:pt x="1598" y="1871"/>
                  </a:lnTo>
                  <a:lnTo>
                    <a:pt x="1650" y="1827"/>
                  </a:lnTo>
                  <a:lnTo>
                    <a:pt x="1712" y="1774"/>
                  </a:lnTo>
                  <a:lnTo>
                    <a:pt x="1783" y="1712"/>
                  </a:lnTo>
                  <a:lnTo>
                    <a:pt x="1792" y="1650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2" name="Freeform 23"/>
            <p:cNvSpPr>
              <a:spLocks noChangeArrowheads="1"/>
            </p:cNvSpPr>
            <p:nvPr/>
          </p:nvSpPr>
          <p:spPr bwMode="auto">
            <a:xfrm>
              <a:off x="2460301" y="4229670"/>
              <a:ext cx="682926" cy="726920"/>
            </a:xfrm>
            <a:custGeom>
              <a:avLst/>
              <a:gdLst/>
              <a:ahLst/>
              <a:cxnLst>
                <a:cxn ang="0">
                  <a:pos x="1994" y="918"/>
                </a:cxn>
                <a:cxn ang="0">
                  <a:pos x="2197" y="724"/>
                </a:cxn>
                <a:cxn ang="0">
                  <a:pos x="2303" y="565"/>
                </a:cxn>
                <a:cxn ang="0">
                  <a:pos x="2312" y="398"/>
                </a:cxn>
                <a:cxn ang="0">
                  <a:pos x="2391" y="283"/>
                </a:cxn>
                <a:cxn ang="0">
                  <a:pos x="2453" y="168"/>
                </a:cxn>
                <a:cxn ang="0">
                  <a:pos x="2426" y="36"/>
                </a:cxn>
                <a:cxn ang="0">
                  <a:pos x="2356" y="62"/>
                </a:cxn>
                <a:cxn ang="0">
                  <a:pos x="2223" y="177"/>
                </a:cxn>
                <a:cxn ang="0">
                  <a:pos x="2153" y="292"/>
                </a:cxn>
                <a:cxn ang="0">
                  <a:pos x="2126" y="398"/>
                </a:cxn>
                <a:cxn ang="0">
                  <a:pos x="2038" y="530"/>
                </a:cxn>
                <a:cxn ang="0">
                  <a:pos x="1932" y="618"/>
                </a:cxn>
                <a:cxn ang="0">
                  <a:pos x="1756" y="583"/>
                </a:cxn>
                <a:cxn ang="0">
                  <a:pos x="1835" y="495"/>
                </a:cxn>
                <a:cxn ang="0">
                  <a:pos x="1703" y="450"/>
                </a:cxn>
                <a:cxn ang="0">
                  <a:pos x="1562" y="539"/>
                </a:cxn>
                <a:cxn ang="0">
                  <a:pos x="1420" y="486"/>
                </a:cxn>
                <a:cxn ang="0">
                  <a:pos x="1297" y="583"/>
                </a:cxn>
                <a:cxn ang="0">
                  <a:pos x="1165" y="680"/>
                </a:cxn>
                <a:cxn ang="0">
                  <a:pos x="1165" y="786"/>
                </a:cxn>
                <a:cxn ang="0">
                  <a:pos x="1006" y="830"/>
                </a:cxn>
                <a:cxn ang="0">
                  <a:pos x="900" y="883"/>
                </a:cxn>
                <a:cxn ang="0">
                  <a:pos x="820" y="971"/>
                </a:cxn>
                <a:cxn ang="0">
                  <a:pos x="688" y="1024"/>
                </a:cxn>
                <a:cxn ang="0">
                  <a:pos x="741" y="1227"/>
                </a:cxn>
                <a:cxn ang="0">
                  <a:pos x="829" y="1359"/>
                </a:cxn>
                <a:cxn ang="0">
                  <a:pos x="891" y="1483"/>
                </a:cxn>
                <a:cxn ang="0">
                  <a:pos x="829" y="1545"/>
                </a:cxn>
                <a:cxn ang="0">
                  <a:pos x="714" y="1518"/>
                </a:cxn>
                <a:cxn ang="0">
                  <a:pos x="635" y="1580"/>
                </a:cxn>
                <a:cxn ang="0">
                  <a:pos x="520" y="1633"/>
                </a:cxn>
                <a:cxn ang="0">
                  <a:pos x="361" y="1606"/>
                </a:cxn>
                <a:cxn ang="0">
                  <a:pos x="300" y="1712"/>
                </a:cxn>
                <a:cxn ang="0">
                  <a:pos x="300" y="1818"/>
                </a:cxn>
                <a:cxn ang="0">
                  <a:pos x="300" y="1942"/>
                </a:cxn>
                <a:cxn ang="0">
                  <a:pos x="167" y="1933"/>
                </a:cxn>
                <a:cxn ang="0">
                  <a:pos x="8" y="1924"/>
                </a:cxn>
                <a:cxn ang="0">
                  <a:pos x="26" y="2065"/>
                </a:cxn>
                <a:cxn ang="0">
                  <a:pos x="35" y="2189"/>
                </a:cxn>
                <a:cxn ang="0">
                  <a:pos x="176" y="2233"/>
                </a:cxn>
                <a:cxn ang="0">
                  <a:pos x="220" y="2409"/>
                </a:cxn>
                <a:cxn ang="0">
                  <a:pos x="335" y="2489"/>
                </a:cxn>
                <a:cxn ang="0">
                  <a:pos x="441" y="2533"/>
                </a:cxn>
                <a:cxn ang="0">
                  <a:pos x="564" y="2559"/>
                </a:cxn>
                <a:cxn ang="0">
                  <a:pos x="679" y="2577"/>
                </a:cxn>
                <a:cxn ang="0">
                  <a:pos x="829" y="2471"/>
                </a:cxn>
                <a:cxn ang="0">
                  <a:pos x="962" y="2348"/>
                </a:cxn>
                <a:cxn ang="0">
                  <a:pos x="1032" y="2215"/>
                </a:cxn>
                <a:cxn ang="0">
                  <a:pos x="1138" y="2092"/>
                </a:cxn>
                <a:cxn ang="0">
                  <a:pos x="1270" y="1959"/>
                </a:cxn>
                <a:cxn ang="0">
                  <a:pos x="1376" y="1827"/>
                </a:cxn>
                <a:cxn ang="0">
                  <a:pos x="1465" y="1721"/>
                </a:cxn>
                <a:cxn ang="0">
                  <a:pos x="1570" y="1553"/>
                </a:cxn>
                <a:cxn ang="0">
                  <a:pos x="1615" y="1421"/>
                </a:cxn>
                <a:cxn ang="0">
                  <a:pos x="1720" y="1456"/>
                </a:cxn>
                <a:cxn ang="0">
                  <a:pos x="1888" y="1333"/>
                </a:cxn>
                <a:cxn ang="0">
                  <a:pos x="1862" y="1236"/>
                </a:cxn>
                <a:cxn ang="0">
                  <a:pos x="1844" y="1130"/>
                </a:cxn>
                <a:cxn ang="0">
                  <a:pos x="1968" y="989"/>
                </a:cxn>
              </a:cxnLst>
              <a:rect l="0" t="0" r="r" b="b"/>
              <a:pathLst>
                <a:path w="2454" h="2578">
                  <a:moveTo>
                    <a:pt x="1968" y="989"/>
                  </a:moveTo>
                  <a:lnTo>
                    <a:pt x="1994" y="918"/>
                  </a:lnTo>
                  <a:lnTo>
                    <a:pt x="2118" y="795"/>
                  </a:lnTo>
                  <a:lnTo>
                    <a:pt x="2197" y="724"/>
                  </a:lnTo>
                  <a:lnTo>
                    <a:pt x="2276" y="627"/>
                  </a:lnTo>
                  <a:lnTo>
                    <a:pt x="2303" y="565"/>
                  </a:lnTo>
                  <a:lnTo>
                    <a:pt x="2303" y="486"/>
                  </a:lnTo>
                  <a:lnTo>
                    <a:pt x="2312" y="398"/>
                  </a:lnTo>
                  <a:lnTo>
                    <a:pt x="2338" y="309"/>
                  </a:lnTo>
                  <a:lnTo>
                    <a:pt x="2391" y="283"/>
                  </a:lnTo>
                  <a:lnTo>
                    <a:pt x="2409" y="221"/>
                  </a:lnTo>
                  <a:lnTo>
                    <a:pt x="2453" y="168"/>
                  </a:lnTo>
                  <a:lnTo>
                    <a:pt x="2444" y="115"/>
                  </a:lnTo>
                  <a:lnTo>
                    <a:pt x="2426" y="36"/>
                  </a:lnTo>
                  <a:lnTo>
                    <a:pt x="2365" y="0"/>
                  </a:lnTo>
                  <a:lnTo>
                    <a:pt x="2356" y="62"/>
                  </a:lnTo>
                  <a:lnTo>
                    <a:pt x="2285" y="124"/>
                  </a:lnTo>
                  <a:lnTo>
                    <a:pt x="2223" y="177"/>
                  </a:lnTo>
                  <a:lnTo>
                    <a:pt x="2171" y="221"/>
                  </a:lnTo>
                  <a:lnTo>
                    <a:pt x="2153" y="292"/>
                  </a:lnTo>
                  <a:lnTo>
                    <a:pt x="2126" y="336"/>
                  </a:lnTo>
                  <a:lnTo>
                    <a:pt x="2126" y="398"/>
                  </a:lnTo>
                  <a:lnTo>
                    <a:pt x="2082" y="459"/>
                  </a:lnTo>
                  <a:lnTo>
                    <a:pt x="2038" y="530"/>
                  </a:lnTo>
                  <a:lnTo>
                    <a:pt x="2003" y="583"/>
                  </a:lnTo>
                  <a:lnTo>
                    <a:pt x="1932" y="618"/>
                  </a:lnTo>
                  <a:lnTo>
                    <a:pt x="1818" y="618"/>
                  </a:lnTo>
                  <a:lnTo>
                    <a:pt x="1756" y="583"/>
                  </a:lnTo>
                  <a:lnTo>
                    <a:pt x="1782" y="530"/>
                  </a:lnTo>
                  <a:lnTo>
                    <a:pt x="1835" y="495"/>
                  </a:lnTo>
                  <a:lnTo>
                    <a:pt x="1782" y="442"/>
                  </a:lnTo>
                  <a:lnTo>
                    <a:pt x="1703" y="450"/>
                  </a:lnTo>
                  <a:lnTo>
                    <a:pt x="1615" y="486"/>
                  </a:lnTo>
                  <a:lnTo>
                    <a:pt x="1562" y="539"/>
                  </a:lnTo>
                  <a:lnTo>
                    <a:pt x="1518" y="495"/>
                  </a:lnTo>
                  <a:lnTo>
                    <a:pt x="1420" y="486"/>
                  </a:lnTo>
                  <a:lnTo>
                    <a:pt x="1367" y="521"/>
                  </a:lnTo>
                  <a:lnTo>
                    <a:pt x="1297" y="583"/>
                  </a:lnTo>
                  <a:lnTo>
                    <a:pt x="1226" y="627"/>
                  </a:lnTo>
                  <a:lnTo>
                    <a:pt x="1165" y="680"/>
                  </a:lnTo>
                  <a:lnTo>
                    <a:pt x="1182" y="742"/>
                  </a:lnTo>
                  <a:lnTo>
                    <a:pt x="1165" y="786"/>
                  </a:lnTo>
                  <a:lnTo>
                    <a:pt x="1076" y="803"/>
                  </a:lnTo>
                  <a:lnTo>
                    <a:pt x="1006" y="830"/>
                  </a:lnTo>
                  <a:lnTo>
                    <a:pt x="962" y="901"/>
                  </a:lnTo>
                  <a:lnTo>
                    <a:pt x="900" y="883"/>
                  </a:lnTo>
                  <a:lnTo>
                    <a:pt x="856" y="918"/>
                  </a:lnTo>
                  <a:lnTo>
                    <a:pt x="820" y="971"/>
                  </a:lnTo>
                  <a:lnTo>
                    <a:pt x="732" y="980"/>
                  </a:lnTo>
                  <a:lnTo>
                    <a:pt x="688" y="1024"/>
                  </a:lnTo>
                  <a:lnTo>
                    <a:pt x="714" y="1121"/>
                  </a:lnTo>
                  <a:lnTo>
                    <a:pt x="741" y="1227"/>
                  </a:lnTo>
                  <a:lnTo>
                    <a:pt x="776" y="1289"/>
                  </a:lnTo>
                  <a:lnTo>
                    <a:pt x="829" y="1359"/>
                  </a:lnTo>
                  <a:lnTo>
                    <a:pt x="873" y="1430"/>
                  </a:lnTo>
                  <a:lnTo>
                    <a:pt x="891" y="1483"/>
                  </a:lnTo>
                  <a:lnTo>
                    <a:pt x="891" y="1536"/>
                  </a:lnTo>
                  <a:lnTo>
                    <a:pt x="829" y="1545"/>
                  </a:lnTo>
                  <a:lnTo>
                    <a:pt x="776" y="1518"/>
                  </a:lnTo>
                  <a:lnTo>
                    <a:pt x="714" y="1518"/>
                  </a:lnTo>
                  <a:lnTo>
                    <a:pt x="670" y="1509"/>
                  </a:lnTo>
                  <a:lnTo>
                    <a:pt x="635" y="1580"/>
                  </a:lnTo>
                  <a:lnTo>
                    <a:pt x="564" y="1624"/>
                  </a:lnTo>
                  <a:lnTo>
                    <a:pt x="520" y="1633"/>
                  </a:lnTo>
                  <a:lnTo>
                    <a:pt x="432" y="1598"/>
                  </a:lnTo>
                  <a:lnTo>
                    <a:pt x="361" y="1606"/>
                  </a:lnTo>
                  <a:lnTo>
                    <a:pt x="344" y="1686"/>
                  </a:lnTo>
                  <a:lnTo>
                    <a:pt x="300" y="1712"/>
                  </a:lnTo>
                  <a:lnTo>
                    <a:pt x="247" y="1765"/>
                  </a:lnTo>
                  <a:lnTo>
                    <a:pt x="300" y="1818"/>
                  </a:lnTo>
                  <a:lnTo>
                    <a:pt x="335" y="1898"/>
                  </a:lnTo>
                  <a:lnTo>
                    <a:pt x="300" y="1942"/>
                  </a:lnTo>
                  <a:lnTo>
                    <a:pt x="229" y="1986"/>
                  </a:lnTo>
                  <a:lnTo>
                    <a:pt x="167" y="1933"/>
                  </a:lnTo>
                  <a:lnTo>
                    <a:pt x="106" y="1898"/>
                  </a:lnTo>
                  <a:lnTo>
                    <a:pt x="8" y="1924"/>
                  </a:lnTo>
                  <a:lnTo>
                    <a:pt x="0" y="2003"/>
                  </a:lnTo>
                  <a:lnTo>
                    <a:pt x="26" y="2065"/>
                  </a:lnTo>
                  <a:lnTo>
                    <a:pt x="17" y="2127"/>
                  </a:lnTo>
                  <a:lnTo>
                    <a:pt x="35" y="2189"/>
                  </a:lnTo>
                  <a:lnTo>
                    <a:pt x="97" y="2206"/>
                  </a:lnTo>
                  <a:lnTo>
                    <a:pt x="176" y="2233"/>
                  </a:lnTo>
                  <a:lnTo>
                    <a:pt x="229" y="2277"/>
                  </a:lnTo>
                  <a:lnTo>
                    <a:pt x="220" y="2409"/>
                  </a:lnTo>
                  <a:lnTo>
                    <a:pt x="256" y="2471"/>
                  </a:lnTo>
                  <a:lnTo>
                    <a:pt x="335" y="2489"/>
                  </a:lnTo>
                  <a:lnTo>
                    <a:pt x="397" y="2489"/>
                  </a:lnTo>
                  <a:lnTo>
                    <a:pt x="441" y="2533"/>
                  </a:lnTo>
                  <a:lnTo>
                    <a:pt x="494" y="2568"/>
                  </a:lnTo>
                  <a:lnTo>
                    <a:pt x="564" y="2559"/>
                  </a:lnTo>
                  <a:lnTo>
                    <a:pt x="635" y="2551"/>
                  </a:lnTo>
                  <a:lnTo>
                    <a:pt x="679" y="2577"/>
                  </a:lnTo>
                  <a:lnTo>
                    <a:pt x="767" y="2551"/>
                  </a:lnTo>
                  <a:lnTo>
                    <a:pt x="829" y="2471"/>
                  </a:lnTo>
                  <a:lnTo>
                    <a:pt x="909" y="2401"/>
                  </a:lnTo>
                  <a:lnTo>
                    <a:pt x="962" y="2348"/>
                  </a:lnTo>
                  <a:lnTo>
                    <a:pt x="979" y="2268"/>
                  </a:lnTo>
                  <a:lnTo>
                    <a:pt x="1032" y="2215"/>
                  </a:lnTo>
                  <a:lnTo>
                    <a:pt x="1094" y="2162"/>
                  </a:lnTo>
                  <a:lnTo>
                    <a:pt x="1138" y="2092"/>
                  </a:lnTo>
                  <a:lnTo>
                    <a:pt x="1235" y="2039"/>
                  </a:lnTo>
                  <a:lnTo>
                    <a:pt x="1270" y="1959"/>
                  </a:lnTo>
                  <a:lnTo>
                    <a:pt x="1315" y="1889"/>
                  </a:lnTo>
                  <a:lnTo>
                    <a:pt x="1376" y="1827"/>
                  </a:lnTo>
                  <a:lnTo>
                    <a:pt x="1412" y="1756"/>
                  </a:lnTo>
                  <a:lnTo>
                    <a:pt x="1465" y="1721"/>
                  </a:lnTo>
                  <a:lnTo>
                    <a:pt x="1526" y="1651"/>
                  </a:lnTo>
                  <a:lnTo>
                    <a:pt x="1570" y="1553"/>
                  </a:lnTo>
                  <a:lnTo>
                    <a:pt x="1588" y="1465"/>
                  </a:lnTo>
                  <a:lnTo>
                    <a:pt x="1615" y="1421"/>
                  </a:lnTo>
                  <a:lnTo>
                    <a:pt x="1676" y="1430"/>
                  </a:lnTo>
                  <a:lnTo>
                    <a:pt x="1720" y="1456"/>
                  </a:lnTo>
                  <a:lnTo>
                    <a:pt x="1818" y="1403"/>
                  </a:lnTo>
                  <a:lnTo>
                    <a:pt x="1888" y="1333"/>
                  </a:lnTo>
                  <a:lnTo>
                    <a:pt x="1906" y="1280"/>
                  </a:lnTo>
                  <a:lnTo>
                    <a:pt x="1862" y="1236"/>
                  </a:lnTo>
                  <a:lnTo>
                    <a:pt x="1818" y="1183"/>
                  </a:lnTo>
                  <a:lnTo>
                    <a:pt x="1844" y="1130"/>
                  </a:lnTo>
                  <a:lnTo>
                    <a:pt x="1923" y="1042"/>
                  </a:lnTo>
                  <a:lnTo>
                    <a:pt x="1968" y="989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3" name="Freeform 24"/>
            <p:cNvSpPr>
              <a:spLocks noChangeArrowheads="1"/>
            </p:cNvSpPr>
            <p:nvPr/>
          </p:nvSpPr>
          <p:spPr bwMode="auto">
            <a:xfrm>
              <a:off x="1990194" y="4404257"/>
              <a:ext cx="719454" cy="717397"/>
            </a:xfrm>
            <a:custGeom>
              <a:avLst/>
              <a:gdLst/>
              <a:ahLst/>
              <a:cxnLst>
                <a:cxn ang="0">
                  <a:pos x="2206" y="2021"/>
                </a:cxn>
                <a:cxn ang="0">
                  <a:pos x="2118" y="2206"/>
                </a:cxn>
                <a:cxn ang="0">
                  <a:pos x="2383" y="2453"/>
                </a:cxn>
                <a:cxn ang="0">
                  <a:pos x="2268" y="2506"/>
                </a:cxn>
                <a:cxn ang="0">
                  <a:pos x="2092" y="2550"/>
                </a:cxn>
                <a:cxn ang="0">
                  <a:pos x="1942" y="2533"/>
                </a:cxn>
                <a:cxn ang="0">
                  <a:pos x="1809" y="2391"/>
                </a:cxn>
                <a:cxn ang="0">
                  <a:pos x="1774" y="2118"/>
                </a:cxn>
                <a:cxn ang="0">
                  <a:pos x="1597" y="2162"/>
                </a:cxn>
                <a:cxn ang="0">
                  <a:pos x="1491" y="2180"/>
                </a:cxn>
                <a:cxn ang="0">
                  <a:pos x="1518" y="1985"/>
                </a:cxn>
                <a:cxn ang="0">
                  <a:pos x="1394" y="1835"/>
                </a:cxn>
                <a:cxn ang="0">
                  <a:pos x="1209" y="1791"/>
                </a:cxn>
                <a:cxn ang="0">
                  <a:pos x="971" y="1835"/>
                </a:cxn>
                <a:cxn ang="0">
                  <a:pos x="891" y="1633"/>
                </a:cxn>
                <a:cxn ang="0">
                  <a:pos x="944" y="1483"/>
                </a:cxn>
                <a:cxn ang="0">
                  <a:pos x="838" y="1306"/>
                </a:cxn>
                <a:cxn ang="0">
                  <a:pos x="618" y="1271"/>
                </a:cxn>
                <a:cxn ang="0">
                  <a:pos x="388" y="1218"/>
                </a:cxn>
                <a:cxn ang="0">
                  <a:pos x="230" y="1015"/>
                </a:cxn>
                <a:cxn ang="0">
                  <a:pos x="44" y="821"/>
                </a:cxn>
                <a:cxn ang="0">
                  <a:pos x="124" y="706"/>
                </a:cxn>
                <a:cxn ang="0">
                  <a:pos x="203" y="618"/>
                </a:cxn>
                <a:cxn ang="0">
                  <a:pos x="344" y="530"/>
                </a:cxn>
                <a:cxn ang="0">
                  <a:pos x="433" y="415"/>
                </a:cxn>
                <a:cxn ang="0">
                  <a:pos x="397" y="309"/>
                </a:cxn>
                <a:cxn ang="0">
                  <a:pos x="530" y="159"/>
                </a:cxn>
                <a:cxn ang="0">
                  <a:pos x="715" y="159"/>
                </a:cxn>
                <a:cxn ang="0">
                  <a:pos x="874" y="212"/>
                </a:cxn>
                <a:cxn ang="0">
                  <a:pos x="1050" y="274"/>
                </a:cxn>
                <a:cxn ang="0">
                  <a:pos x="1289" y="327"/>
                </a:cxn>
                <a:cxn ang="0">
                  <a:pos x="1430" y="238"/>
                </a:cxn>
                <a:cxn ang="0">
                  <a:pos x="1668" y="238"/>
                </a:cxn>
                <a:cxn ang="0">
                  <a:pos x="1756" y="88"/>
                </a:cxn>
                <a:cxn ang="0">
                  <a:pos x="1897" y="53"/>
                </a:cxn>
                <a:cxn ang="0">
                  <a:pos x="2127" y="88"/>
                </a:cxn>
                <a:cxn ang="0">
                  <a:pos x="2268" y="212"/>
                </a:cxn>
                <a:cxn ang="0">
                  <a:pos x="2418" y="362"/>
                </a:cxn>
                <a:cxn ang="0">
                  <a:pos x="2427" y="609"/>
                </a:cxn>
                <a:cxn ang="0">
                  <a:pos x="2559" y="812"/>
                </a:cxn>
                <a:cxn ang="0">
                  <a:pos x="2515" y="927"/>
                </a:cxn>
                <a:cxn ang="0">
                  <a:pos x="2356" y="891"/>
                </a:cxn>
                <a:cxn ang="0">
                  <a:pos x="2206" y="1015"/>
                </a:cxn>
                <a:cxn ang="0">
                  <a:pos x="2030" y="1068"/>
                </a:cxn>
                <a:cxn ang="0">
                  <a:pos x="1986" y="1200"/>
                </a:cxn>
                <a:cxn ang="0">
                  <a:pos x="1915" y="1368"/>
                </a:cxn>
                <a:cxn ang="0">
                  <a:pos x="1694" y="1306"/>
                </a:cxn>
                <a:cxn ang="0">
                  <a:pos x="1703" y="1509"/>
                </a:cxn>
                <a:cxn ang="0">
                  <a:pos x="1862" y="1615"/>
                </a:cxn>
                <a:cxn ang="0">
                  <a:pos x="1942" y="1853"/>
                </a:cxn>
                <a:cxn ang="0">
                  <a:pos x="2127" y="1915"/>
                </a:cxn>
              </a:cxnLst>
              <a:rect l="0" t="0" r="r" b="b"/>
              <a:pathLst>
                <a:path w="2578" h="2551">
                  <a:moveTo>
                    <a:pt x="2242" y="1941"/>
                  </a:moveTo>
                  <a:lnTo>
                    <a:pt x="2233" y="1985"/>
                  </a:lnTo>
                  <a:lnTo>
                    <a:pt x="2206" y="2021"/>
                  </a:lnTo>
                  <a:lnTo>
                    <a:pt x="2189" y="2091"/>
                  </a:lnTo>
                  <a:lnTo>
                    <a:pt x="2145" y="2136"/>
                  </a:lnTo>
                  <a:lnTo>
                    <a:pt x="2118" y="2206"/>
                  </a:lnTo>
                  <a:lnTo>
                    <a:pt x="2206" y="2286"/>
                  </a:lnTo>
                  <a:lnTo>
                    <a:pt x="2321" y="2391"/>
                  </a:lnTo>
                  <a:lnTo>
                    <a:pt x="2383" y="2453"/>
                  </a:lnTo>
                  <a:lnTo>
                    <a:pt x="2365" y="2497"/>
                  </a:lnTo>
                  <a:lnTo>
                    <a:pt x="2321" y="2515"/>
                  </a:lnTo>
                  <a:lnTo>
                    <a:pt x="2268" y="2506"/>
                  </a:lnTo>
                  <a:lnTo>
                    <a:pt x="2224" y="2533"/>
                  </a:lnTo>
                  <a:lnTo>
                    <a:pt x="2189" y="2550"/>
                  </a:lnTo>
                  <a:lnTo>
                    <a:pt x="2092" y="2550"/>
                  </a:lnTo>
                  <a:lnTo>
                    <a:pt x="2056" y="2506"/>
                  </a:lnTo>
                  <a:lnTo>
                    <a:pt x="2012" y="2541"/>
                  </a:lnTo>
                  <a:lnTo>
                    <a:pt x="1942" y="2533"/>
                  </a:lnTo>
                  <a:lnTo>
                    <a:pt x="1871" y="2488"/>
                  </a:lnTo>
                  <a:lnTo>
                    <a:pt x="1809" y="2471"/>
                  </a:lnTo>
                  <a:lnTo>
                    <a:pt x="1809" y="2391"/>
                  </a:lnTo>
                  <a:lnTo>
                    <a:pt x="1800" y="2303"/>
                  </a:lnTo>
                  <a:lnTo>
                    <a:pt x="1800" y="2188"/>
                  </a:lnTo>
                  <a:lnTo>
                    <a:pt x="1774" y="2118"/>
                  </a:lnTo>
                  <a:lnTo>
                    <a:pt x="1677" y="2083"/>
                  </a:lnTo>
                  <a:lnTo>
                    <a:pt x="1615" y="2100"/>
                  </a:lnTo>
                  <a:lnTo>
                    <a:pt x="1597" y="2162"/>
                  </a:lnTo>
                  <a:lnTo>
                    <a:pt x="1571" y="2206"/>
                  </a:lnTo>
                  <a:lnTo>
                    <a:pt x="1483" y="2224"/>
                  </a:lnTo>
                  <a:lnTo>
                    <a:pt x="1491" y="2180"/>
                  </a:lnTo>
                  <a:lnTo>
                    <a:pt x="1509" y="2127"/>
                  </a:lnTo>
                  <a:lnTo>
                    <a:pt x="1483" y="2056"/>
                  </a:lnTo>
                  <a:lnTo>
                    <a:pt x="1518" y="1985"/>
                  </a:lnTo>
                  <a:lnTo>
                    <a:pt x="1509" y="1915"/>
                  </a:lnTo>
                  <a:lnTo>
                    <a:pt x="1465" y="1862"/>
                  </a:lnTo>
                  <a:lnTo>
                    <a:pt x="1394" y="1835"/>
                  </a:lnTo>
                  <a:lnTo>
                    <a:pt x="1324" y="1818"/>
                  </a:lnTo>
                  <a:lnTo>
                    <a:pt x="1262" y="1774"/>
                  </a:lnTo>
                  <a:lnTo>
                    <a:pt x="1209" y="1791"/>
                  </a:lnTo>
                  <a:lnTo>
                    <a:pt x="1121" y="1818"/>
                  </a:lnTo>
                  <a:lnTo>
                    <a:pt x="1024" y="1800"/>
                  </a:lnTo>
                  <a:lnTo>
                    <a:pt x="971" y="1835"/>
                  </a:lnTo>
                  <a:lnTo>
                    <a:pt x="900" y="1800"/>
                  </a:lnTo>
                  <a:lnTo>
                    <a:pt x="891" y="1721"/>
                  </a:lnTo>
                  <a:lnTo>
                    <a:pt x="891" y="1633"/>
                  </a:lnTo>
                  <a:lnTo>
                    <a:pt x="944" y="1571"/>
                  </a:lnTo>
                  <a:lnTo>
                    <a:pt x="988" y="1527"/>
                  </a:lnTo>
                  <a:lnTo>
                    <a:pt x="944" y="1483"/>
                  </a:lnTo>
                  <a:lnTo>
                    <a:pt x="856" y="1447"/>
                  </a:lnTo>
                  <a:lnTo>
                    <a:pt x="838" y="1385"/>
                  </a:lnTo>
                  <a:lnTo>
                    <a:pt x="838" y="1306"/>
                  </a:lnTo>
                  <a:lnTo>
                    <a:pt x="803" y="1244"/>
                  </a:lnTo>
                  <a:lnTo>
                    <a:pt x="741" y="1253"/>
                  </a:lnTo>
                  <a:lnTo>
                    <a:pt x="618" y="1271"/>
                  </a:lnTo>
                  <a:lnTo>
                    <a:pt x="530" y="1288"/>
                  </a:lnTo>
                  <a:lnTo>
                    <a:pt x="450" y="1253"/>
                  </a:lnTo>
                  <a:lnTo>
                    <a:pt x="388" y="1218"/>
                  </a:lnTo>
                  <a:lnTo>
                    <a:pt x="353" y="1156"/>
                  </a:lnTo>
                  <a:lnTo>
                    <a:pt x="291" y="1103"/>
                  </a:lnTo>
                  <a:lnTo>
                    <a:pt x="230" y="1015"/>
                  </a:lnTo>
                  <a:lnTo>
                    <a:pt x="185" y="953"/>
                  </a:lnTo>
                  <a:lnTo>
                    <a:pt x="106" y="891"/>
                  </a:lnTo>
                  <a:lnTo>
                    <a:pt x="44" y="821"/>
                  </a:lnTo>
                  <a:lnTo>
                    <a:pt x="0" y="759"/>
                  </a:lnTo>
                  <a:lnTo>
                    <a:pt x="53" y="697"/>
                  </a:lnTo>
                  <a:lnTo>
                    <a:pt x="124" y="706"/>
                  </a:lnTo>
                  <a:lnTo>
                    <a:pt x="185" y="741"/>
                  </a:lnTo>
                  <a:lnTo>
                    <a:pt x="194" y="688"/>
                  </a:lnTo>
                  <a:lnTo>
                    <a:pt x="203" y="618"/>
                  </a:lnTo>
                  <a:lnTo>
                    <a:pt x="291" y="583"/>
                  </a:lnTo>
                  <a:lnTo>
                    <a:pt x="353" y="583"/>
                  </a:lnTo>
                  <a:lnTo>
                    <a:pt x="344" y="530"/>
                  </a:lnTo>
                  <a:lnTo>
                    <a:pt x="362" y="477"/>
                  </a:lnTo>
                  <a:lnTo>
                    <a:pt x="424" y="468"/>
                  </a:lnTo>
                  <a:lnTo>
                    <a:pt x="433" y="415"/>
                  </a:lnTo>
                  <a:lnTo>
                    <a:pt x="362" y="380"/>
                  </a:lnTo>
                  <a:lnTo>
                    <a:pt x="309" y="344"/>
                  </a:lnTo>
                  <a:lnTo>
                    <a:pt x="397" y="309"/>
                  </a:lnTo>
                  <a:lnTo>
                    <a:pt x="450" y="274"/>
                  </a:lnTo>
                  <a:lnTo>
                    <a:pt x="494" y="221"/>
                  </a:lnTo>
                  <a:lnTo>
                    <a:pt x="530" y="159"/>
                  </a:lnTo>
                  <a:lnTo>
                    <a:pt x="609" y="115"/>
                  </a:lnTo>
                  <a:lnTo>
                    <a:pt x="680" y="97"/>
                  </a:lnTo>
                  <a:lnTo>
                    <a:pt x="715" y="159"/>
                  </a:lnTo>
                  <a:lnTo>
                    <a:pt x="768" y="203"/>
                  </a:lnTo>
                  <a:lnTo>
                    <a:pt x="812" y="177"/>
                  </a:lnTo>
                  <a:lnTo>
                    <a:pt x="874" y="212"/>
                  </a:lnTo>
                  <a:lnTo>
                    <a:pt x="900" y="274"/>
                  </a:lnTo>
                  <a:lnTo>
                    <a:pt x="971" y="256"/>
                  </a:lnTo>
                  <a:lnTo>
                    <a:pt x="1050" y="274"/>
                  </a:lnTo>
                  <a:lnTo>
                    <a:pt x="1139" y="291"/>
                  </a:lnTo>
                  <a:lnTo>
                    <a:pt x="1200" y="256"/>
                  </a:lnTo>
                  <a:lnTo>
                    <a:pt x="1289" y="327"/>
                  </a:lnTo>
                  <a:lnTo>
                    <a:pt x="1368" y="335"/>
                  </a:lnTo>
                  <a:lnTo>
                    <a:pt x="1412" y="291"/>
                  </a:lnTo>
                  <a:lnTo>
                    <a:pt x="1430" y="238"/>
                  </a:lnTo>
                  <a:lnTo>
                    <a:pt x="1483" y="274"/>
                  </a:lnTo>
                  <a:lnTo>
                    <a:pt x="1562" y="238"/>
                  </a:lnTo>
                  <a:lnTo>
                    <a:pt x="1668" y="238"/>
                  </a:lnTo>
                  <a:lnTo>
                    <a:pt x="1747" y="221"/>
                  </a:lnTo>
                  <a:lnTo>
                    <a:pt x="1747" y="159"/>
                  </a:lnTo>
                  <a:lnTo>
                    <a:pt x="1756" y="88"/>
                  </a:lnTo>
                  <a:lnTo>
                    <a:pt x="1765" y="35"/>
                  </a:lnTo>
                  <a:lnTo>
                    <a:pt x="1827" y="0"/>
                  </a:lnTo>
                  <a:lnTo>
                    <a:pt x="1897" y="53"/>
                  </a:lnTo>
                  <a:lnTo>
                    <a:pt x="1986" y="27"/>
                  </a:lnTo>
                  <a:lnTo>
                    <a:pt x="2056" y="27"/>
                  </a:lnTo>
                  <a:lnTo>
                    <a:pt x="2127" y="88"/>
                  </a:lnTo>
                  <a:lnTo>
                    <a:pt x="2206" y="115"/>
                  </a:lnTo>
                  <a:lnTo>
                    <a:pt x="2259" y="115"/>
                  </a:lnTo>
                  <a:lnTo>
                    <a:pt x="2268" y="212"/>
                  </a:lnTo>
                  <a:lnTo>
                    <a:pt x="2277" y="274"/>
                  </a:lnTo>
                  <a:lnTo>
                    <a:pt x="2321" y="335"/>
                  </a:lnTo>
                  <a:lnTo>
                    <a:pt x="2418" y="362"/>
                  </a:lnTo>
                  <a:lnTo>
                    <a:pt x="2374" y="406"/>
                  </a:lnTo>
                  <a:lnTo>
                    <a:pt x="2400" y="503"/>
                  </a:lnTo>
                  <a:lnTo>
                    <a:pt x="2427" y="609"/>
                  </a:lnTo>
                  <a:lnTo>
                    <a:pt x="2462" y="671"/>
                  </a:lnTo>
                  <a:lnTo>
                    <a:pt x="2515" y="741"/>
                  </a:lnTo>
                  <a:lnTo>
                    <a:pt x="2559" y="812"/>
                  </a:lnTo>
                  <a:lnTo>
                    <a:pt x="2577" y="865"/>
                  </a:lnTo>
                  <a:lnTo>
                    <a:pt x="2577" y="918"/>
                  </a:lnTo>
                  <a:lnTo>
                    <a:pt x="2515" y="927"/>
                  </a:lnTo>
                  <a:lnTo>
                    <a:pt x="2462" y="900"/>
                  </a:lnTo>
                  <a:lnTo>
                    <a:pt x="2400" y="900"/>
                  </a:lnTo>
                  <a:lnTo>
                    <a:pt x="2356" y="891"/>
                  </a:lnTo>
                  <a:lnTo>
                    <a:pt x="2321" y="962"/>
                  </a:lnTo>
                  <a:lnTo>
                    <a:pt x="2250" y="1006"/>
                  </a:lnTo>
                  <a:lnTo>
                    <a:pt x="2206" y="1015"/>
                  </a:lnTo>
                  <a:lnTo>
                    <a:pt x="2118" y="980"/>
                  </a:lnTo>
                  <a:lnTo>
                    <a:pt x="2047" y="988"/>
                  </a:lnTo>
                  <a:lnTo>
                    <a:pt x="2030" y="1068"/>
                  </a:lnTo>
                  <a:lnTo>
                    <a:pt x="1986" y="1094"/>
                  </a:lnTo>
                  <a:lnTo>
                    <a:pt x="1933" y="1147"/>
                  </a:lnTo>
                  <a:lnTo>
                    <a:pt x="1986" y="1200"/>
                  </a:lnTo>
                  <a:lnTo>
                    <a:pt x="2021" y="1280"/>
                  </a:lnTo>
                  <a:lnTo>
                    <a:pt x="1986" y="1324"/>
                  </a:lnTo>
                  <a:lnTo>
                    <a:pt x="1915" y="1368"/>
                  </a:lnTo>
                  <a:lnTo>
                    <a:pt x="1853" y="1315"/>
                  </a:lnTo>
                  <a:lnTo>
                    <a:pt x="1792" y="1280"/>
                  </a:lnTo>
                  <a:lnTo>
                    <a:pt x="1694" y="1306"/>
                  </a:lnTo>
                  <a:lnTo>
                    <a:pt x="1686" y="1385"/>
                  </a:lnTo>
                  <a:lnTo>
                    <a:pt x="1712" y="1447"/>
                  </a:lnTo>
                  <a:lnTo>
                    <a:pt x="1703" y="1509"/>
                  </a:lnTo>
                  <a:lnTo>
                    <a:pt x="1721" y="1571"/>
                  </a:lnTo>
                  <a:lnTo>
                    <a:pt x="1783" y="1588"/>
                  </a:lnTo>
                  <a:lnTo>
                    <a:pt x="1862" y="1615"/>
                  </a:lnTo>
                  <a:lnTo>
                    <a:pt x="1915" y="1659"/>
                  </a:lnTo>
                  <a:lnTo>
                    <a:pt x="1906" y="1791"/>
                  </a:lnTo>
                  <a:lnTo>
                    <a:pt x="1942" y="1853"/>
                  </a:lnTo>
                  <a:lnTo>
                    <a:pt x="2021" y="1871"/>
                  </a:lnTo>
                  <a:lnTo>
                    <a:pt x="2083" y="1871"/>
                  </a:lnTo>
                  <a:lnTo>
                    <a:pt x="2127" y="1915"/>
                  </a:lnTo>
                  <a:lnTo>
                    <a:pt x="2180" y="1950"/>
                  </a:lnTo>
                  <a:lnTo>
                    <a:pt x="2242" y="1941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4" name="Freeform 25"/>
            <p:cNvSpPr>
              <a:spLocks noChangeArrowheads="1"/>
            </p:cNvSpPr>
            <p:nvPr/>
          </p:nvSpPr>
          <p:spPr bwMode="auto">
            <a:xfrm>
              <a:off x="1682083" y="4610588"/>
              <a:ext cx="730572" cy="706286"/>
            </a:xfrm>
            <a:custGeom>
              <a:avLst/>
              <a:gdLst/>
              <a:ahLst/>
              <a:cxnLst>
                <a:cxn ang="0">
                  <a:pos x="971" y="0"/>
                </a:cxn>
                <a:cxn ang="0">
                  <a:pos x="891" y="52"/>
                </a:cxn>
                <a:cxn ang="0">
                  <a:pos x="803" y="0"/>
                </a:cxn>
                <a:cxn ang="0">
                  <a:pos x="750" y="52"/>
                </a:cxn>
                <a:cxn ang="0">
                  <a:pos x="697" y="105"/>
                </a:cxn>
                <a:cxn ang="0">
                  <a:pos x="618" y="123"/>
                </a:cxn>
                <a:cxn ang="0">
                  <a:pos x="547" y="185"/>
                </a:cxn>
                <a:cxn ang="0">
                  <a:pos x="424" y="317"/>
                </a:cxn>
                <a:cxn ang="0">
                  <a:pos x="344" y="467"/>
                </a:cxn>
                <a:cxn ang="0">
                  <a:pos x="335" y="600"/>
                </a:cxn>
                <a:cxn ang="0">
                  <a:pos x="415" y="741"/>
                </a:cxn>
                <a:cxn ang="0">
                  <a:pos x="494" y="855"/>
                </a:cxn>
                <a:cxn ang="0">
                  <a:pos x="529" y="917"/>
                </a:cxn>
                <a:cxn ang="0">
                  <a:pos x="468" y="1005"/>
                </a:cxn>
                <a:cxn ang="0">
                  <a:pos x="362" y="988"/>
                </a:cxn>
                <a:cxn ang="0">
                  <a:pos x="176" y="970"/>
                </a:cxn>
                <a:cxn ang="0">
                  <a:pos x="71" y="1058"/>
                </a:cxn>
                <a:cxn ang="0">
                  <a:pos x="0" y="1182"/>
                </a:cxn>
                <a:cxn ang="0">
                  <a:pos x="124" y="1279"/>
                </a:cxn>
                <a:cxn ang="0">
                  <a:pos x="176" y="1367"/>
                </a:cxn>
                <a:cxn ang="0">
                  <a:pos x="318" y="1473"/>
                </a:cxn>
                <a:cxn ang="0">
                  <a:pos x="450" y="1561"/>
                </a:cxn>
                <a:cxn ang="0">
                  <a:pos x="653" y="1623"/>
                </a:cxn>
                <a:cxn ang="0">
                  <a:pos x="777" y="1755"/>
                </a:cxn>
                <a:cxn ang="0">
                  <a:pos x="953" y="1817"/>
                </a:cxn>
                <a:cxn ang="0">
                  <a:pos x="1077" y="1914"/>
                </a:cxn>
                <a:cxn ang="0">
                  <a:pos x="1333" y="2047"/>
                </a:cxn>
                <a:cxn ang="0">
                  <a:pos x="1544" y="2064"/>
                </a:cxn>
                <a:cxn ang="0">
                  <a:pos x="1703" y="2153"/>
                </a:cxn>
                <a:cxn ang="0">
                  <a:pos x="1836" y="2250"/>
                </a:cxn>
                <a:cxn ang="0">
                  <a:pos x="1915" y="2408"/>
                </a:cxn>
                <a:cxn ang="0">
                  <a:pos x="2039" y="2461"/>
                </a:cxn>
                <a:cxn ang="0">
                  <a:pos x="2197" y="2505"/>
                </a:cxn>
                <a:cxn ang="0">
                  <a:pos x="2321" y="2488"/>
                </a:cxn>
                <a:cxn ang="0">
                  <a:pos x="2330" y="2382"/>
                </a:cxn>
                <a:cxn ang="0">
                  <a:pos x="2303" y="2250"/>
                </a:cxn>
                <a:cxn ang="0">
                  <a:pos x="2312" y="2188"/>
                </a:cxn>
                <a:cxn ang="0">
                  <a:pos x="2400" y="2126"/>
                </a:cxn>
                <a:cxn ang="0">
                  <a:pos x="2356" y="2003"/>
                </a:cxn>
                <a:cxn ang="0">
                  <a:pos x="2339" y="1914"/>
                </a:cxn>
                <a:cxn ang="0">
                  <a:pos x="2294" y="1764"/>
                </a:cxn>
                <a:cxn ang="0">
                  <a:pos x="2303" y="1588"/>
                </a:cxn>
                <a:cxn ang="0">
                  <a:pos x="2436" y="1526"/>
                </a:cxn>
                <a:cxn ang="0">
                  <a:pos x="2586" y="1491"/>
                </a:cxn>
                <a:cxn ang="0">
                  <a:pos x="2612" y="1394"/>
                </a:cxn>
                <a:cxn ang="0">
                  <a:pos x="2621" y="1252"/>
                </a:cxn>
                <a:cxn ang="0">
                  <a:pos x="2568" y="1129"/>
                </a:cxn>
                <a:cxn ang="0">
                  <a:pos x="2427" y="1085"/>
                </a:cxn>
                <a:cxn ang="0">
                  <a:pos x="2312" y="1058"/>
                </a:cxn>
                <a:cxn ang="0">
                  <a:pos x="2127" y="1067"/>
                </a:cxn>
                <a:cxn ang="0">
                  <a:pos x="2003" y="1067"/>
                </a:cxn>
                <a:cxn ang="0">
                  <a:pos x="1994" y="900"/>
                </a:cxn>
                <a:cxn ang="0">
                  <a:pos x="2091" y="794"/>
                </a:cxn>
                <a:cxn ang="0">
                  <a:pos x="1959" y="714"/>
                </a:cxn>
                <a:cxn ang="0">
                  <a:pos x="1941" y="573"/>
                </a:cxn>
                <a:cxn ang="0">
                  <a:pos x="1844" y="520"/>
                </a:cxn>
                <a:cxn ang="0">
                  <a:pos x="1633" y="555"/>
                </a:cxn>
                <a:cxn ang="0">
                  <a:pos x="1491" y="485"/>
                </a:cxn>
                <a:cxn ang="0">
                  <a:pos x="1394" y="370"/>
                </a:cxn>
                <a:cxn ang="0">
                  <a:pos x="1288" y="220"/>
                </a:cxn>
                <a:cxn ang="0">
                  <a:pos x="1147" y="88"/>
                </a:cxn>
                <a:cxn ang="0">
                  <a:pos x="1015" y="44"/>
                </a:cxn>
              </a:cxnLst>
              <a:rect l="0" t="0" r="r" b="b"/>
              <a:pathLst>
                <a:path w="2622" h="2506">
                  <a:moveTo>
                    <a:pt x="1015" y="44"/>
                  </a:moveTo>
                  <a:lnTo>
                    <a:pt x="971" y="0"/>
                  </a:lnTo>
                  <a:lnTo>
                    <a:pt x="918" y="8"/>
                  </a:lnTo>
                  <a:lnTo>
                    <a:pt x="891" y="52"/>
                  </a:lnTo>
                  <a:lnTo>
                    <a:pt x="838" y="52"/>
                  </a:lnTo>
                  <a:lnTo>
                    <a:pt x="803" y="0"/>
                  </a:lnTo>
                  <a:lnTo>
                    <a:pt x="750" y="17"/>
                  </a:lnTo>
                  <a:lnTo>
                    <a:pt x="750" y="52"/>
                  </a:lnTo>
                  <a:lnTo>
                    <a:pt x="732" y="114"/>
                  </a:lnTo>
                  <a:lnTo>
                    <a:pt x="697" y="105"/>
                  </a:lnTo>
                  <a:lnTo>
                    <a:pt x="662" y="88"/>
                  </a:lnTo>
                  <a:lnTo>
                    <a:pt x="618" y="123"/>
                  </a:lnTo>
                  <a:lnTo>
                    <a:pt x="627" y="176"/>
                  </a:lnTo>
                  <a:lnTo>
                    <a:pt x="547" y="185"/>
                  </a:lnTo>
                  <a:lnTo>
                    <a:pt x="477" y="229"/>
                  </a:lnTo>
                  <a:lnTo>
                    <a:pt x="424" y="317"/>
                  </a:lnTo>
                  <a:lnTo>
                    <a:pt x="371" y="405"/>
                  </a:lnTo>
                  <a:lnTo>
                    <a:pt x="344" y="467"/>
                  </a:lnTo>
                  <a:lnTo>
                    <a:pt x="327" y="564"/>
                  </a:lnTo>
                  <a:lnTo>
                    <a:pt x="335" y="600"/>
                  </a:lnTo>
                  <a:lnTo>
                    <a:pt x="379" y="679"/>
                  </a:lnTo>
                  <a:lnTo>
                    <a:pt x="415" y="741"/>
                  </a:lnTo>
                  <a:lnTo>
                    <a:pt x="468" y="785"/>
                  </a:lnTo>
                  <a:lnTo>
                    <a:pt x="494" y="855"/>
                  </a:lnTo>
                  <a:lnTo>
                    <a:pt x="538" y="873"/>
                  </a:lnTo>
                  <a:lnTo>
                    <a:pt x="529" y="917"/>
                  </a:lnTo>
                  <a:lnTo>
                    <a:pt x="529" y="970"/>
                  </a:lnTo>
                  <a:lnTo>
                    <a:pt x="468" y="1005"/>
                  </a:lnTo>
                  <a:lnTo>
                    <a:pt x="424" y="979"/>
                  </a:lnTo>
                  <a:lnTo>
                    <a:pt x="362" y="988"/>
                  </a:lnTo>
                  <a:lnTo>
                    <a:pt x="265" y="970"/>
                  </a:lnTo>
                  <a:lnTo>
                    <a:pt x="176" y="970"/>
                  </a:lnTo>
                  <a:lnTo>
                    <a:pt x="124" y="997"/>
                  </a:lnTo>
                  <a:lnTo>
                    <a:pt x="71" y="1058"/>
                  </a:lnTo>
                  <a:lnTo>
                    <a:pt x="9" y="1120"/>
                  </a:lnTo>
                  <a:lnTo>
                    <a:pt x="0" y="1182"/>
                  </a:lnTo>
                  <a:lnTo>
                    <a:pt x="44" y="1252"/>
                  </a:lnTo>
                  <a:lnTo>
                    <a:pt x="124" y="1279"/>
                  </a:lnTo>
                  <a:lnTo>
                    <a:pt x="132" y="1323"/>
                  </a:lnTo>
                  <a:lnTo>
                    <a:pt x="176" y="1367"/>
                  </a:lnTo>
                  <a:lnTo>
                    <a:pt x="265" y="1411"/>
                  </a:lnTo>
                  <a:lnTo>
                    <a:pt x="318" y="1473"/>
                  </a:lnTo>
                  <a:lnTo>
                    <a:pt x="362" y="1517"/>
                  </a:lnTo>
                  <a:lnTo>
                    <a:pt x="450" y="1561"/>
                  </a:lnTo>
                  <a:lnTo>
                    <a:pt x="556" y="1623"/>
                  </a:lnTo>
                  <a:lnTo>
                    <a:pt x="653" y="1623"/>
                  </a:lnTo>
                  <a:lnTo>
                    <a:pt x="697" y="1676"/>
                  </a:lnTo>
                  <a:lnTo>
                    <a:pt x="777" y="1755"/>
                  </a:lnTo>
                  <a:lnTo>
                    <a:pt x="847" y="1800"/>
                  </a:lnTo>
                  <a:lnTo>
                    <a:pt x="953" y="1817"/>
                  </a:lnTo>
                  <a:lnTo>
                    <a:pt x="997" y="1879"/>
                  </a:lnTo>
                  <a:lnTo>
                    <a:pt x="1077" y="1914"/>
                  </a:lnTo>
                  <a:lnTo>
                    <a:pt x="1183" y="2003"/>
                  </a:lnTo>
                  <a:lnTo>
                    <a:pt x="1333" y="2047"/>
                  </a:lnTo>
                  <a:lnTo>
                    <a:pt x="1456" y="2038"/>
                  </a:lnTo>
                  <a:lnTo>
                    <a:pt x="1544" y="2064"/>
                  </a:lnTo>
                  <a:lnTo>
                    <a:pt x="1633" y="2108"/>
                  </a:lnTo>
                  <a:lnTo>
                    <a:pt x="1703" y="2153"/>
                  </a:lnTo>
                  <a:lnTo>
                    <a:pt x="1774" y="2205"/>
                  </a:lnTo>
                  <a:lnTo>
                    <a:pt x="1836" y="2250"/>
                  </a:lnTo>
                  <a:lnTo>
                    <a:pt x="1880" y="2338"/>
                  </a:lnTo>
                  <a:lnTo>
                    <a:pt x="1915" y="2408"/>
                  </a:lnTo>
                  <a:lnTo>
                    <a:pt x="1941" y="2461"/>
                  </a:lnTo>
                  <a:lnTo>
                    <a:pt x="2039" y="2461"/>
                  </a:lnTo>
                  <a:lnTo>
                    <a:pt x="2118" y="2479"/>
                  </a:lnTo>
                  <a:lnTo>
                    <a:pt x="2197" y="2505"/>
                  </a:lnTo>
                  <a:lnTo>
                    <a:pt x="2286" y="2470"/>
                  </a:lnTo>
                  <a:lnTo>
                    <a:pt x="2321" y="2488"/>
                  </a:lnTo>
                  <a:lnTo>
                    <a:pt x="2339" y="2444"/>
                  </a:lnTo>
                  <a:lnTo>
                    <a:pt x="2330" y="2382"/>
                  </a:lnTo>
                  <a:lnTo>
                    <a:pt x="2303" y="2329"/>
                  </a:lnTo>
                  <a:lnTo>
                    <a:pt x="2303" y="2250"/>
                  </a:lnTo>
                  <a:lnTo>
                    <a:pt x="2259" y="2205"/>
                  </a:lnTo>
                  <a:lnTo>
                    <a:pt x="2312" y="2188"/>
                  </a:lnTo>
                  <a:lnTo>
                    <a:pt x="2392" y="2170"/>
                  </a:lnTo>
                  <a:lnTo>
                    <a:pt x="2400" y="2126"/>
                  </a:lnTo>
                  <a:lnTo>
                    <a:pt x="2374" y="2082"/>
                  </a:lnTo>
                  <a:lnTo>
                    <a:pt x="2356" y="2003"/>
                  </a:lnTo>
                  <a:lnTo>
                    <a:pt x="2365" y="1941"/>
                  </a:lnTo>
                  <a:lnTo>
                    <a:pt x="2339" y="1914"/>
                  </a:lnTo>
                  <a:lnTo>
                    <a:pt x="2312" y="1853"/>
                  </a:lnTo>
                  <a:lnTo>
                    <a:pt x="2294" y="1764"/>
                  </a:lnTo>
                  <a:lnTo>
                    <a:pt x="2294" y="1667"/>
                  </a:lnTo>
                  <a:lnTo>
                    <a:pt x="2303" y="1588"/>
                  </a:lnTo>
                  <a:lnTo>
                    <a:pt x="2356" y="1544"/>
                  </a:lnTo>
                  <a:lnTo>
                    <a:pt x="2436" y="1526"/>
                  </a:lnTo>
                  <a:lnTo>
                    <a:pt x="2515" y="1517"/>
                  </a:lnTo>
                  <a:lnTo>
                    <a:pt x="2586" y="1491"/>
                  </a:lnTo>
                  <a:lnTo>
                    <a:pt x="2594" y="1447"/>
                  </a:lnTo>
                  <a:lnTo>
                    <a:pt x="2612" y="1394"/>
                  </a:lnTo>
                  <a:lnTo>
                    <a:pt x="2586" y="1323"/>
                  </a:lnTo>
                  <a:lnTo>
                    <a:pt x="2621" y="1252"/>
                  </a:lnTo>
                  <a:lnTo>
                    <a:pt x="2612" y="1182"/>
                  </a:lnTo>
                  <a:lnTo>
                    <a:pt x="2568" y="1129"/>
                  </a:lnTo>
                  <a:lnTo>
                    <a:pt x="2497" y="1102"/>
                  </a:lnTo>
                  <a:lnTo>
                    <a:pt x="2427" y="1085"/>
                  </a:lnTo>
                  <a:lnTo>
                    <a:pt x="2365" y="1041"/>
                  </a:lnTo>
                  <a:lnTo>
                    <a:pt x="2312" y="1058"/>
                  </a:lnTo>
                  <a:lnTo>
                    <a:pt x="2224" y="1085"/>
                  </a:lnTo>
                  <a:lnTo>
                    <a:pt x="2127" y="1067"/>
                  </a:lnTo>
                  <a:lnTo>
                    <a:pt x="2074" y="1102"/>
                  </a:lnTo>
                  <a:lnTo>
                    <a:pt x="2003" y="1067"/>
                  </a:lnTo>
                  <a:lnTo>
                    <a:pt x="1994" y="988"/>
                  </a:lnTo>
                  <a:lnTo>
                    <a:pt x="1994" y="900"/>
                  </a:lnTo>
                  <a:lnTo>
                    <a:pt x="2047" y="838"/>
                  </a:lnTo>
                  <a:lnTo>
                    <a:pt x="2091" y="794"/>
                  </a:lnTo>
                  <a:lnTo>
                    <a:pt x="2047" y="750"/>
                  </a:lnTo>
                  <a:lnTo>
                    <a:pt x="1959" y="714"/>
                  </a:lnTo>
                  <a:lnTo>
                    <a:pt x="1941" y="652"/>
                  </a:lnTo>
                  <a:lnTo>
                    <a:pt x="1941" y="573"/>
                  </a:lnTo>
                  <a:lnTo>
                    <a:pt x="1906" y="511"/>
                  </a:lnTo>
                  <a:lnTo>
                    <a:pt x="1844" y="520"/>
                  </a:lnTo>
                  <a:lnTo>
                    <a:pt x="1721" y="538"/>
                  </a:lnTo>
                  <a:lnTo>
                    <a:pt x="1633" y="555"/>
                  </a:lnTo>
                  <a:lnTo>
                    <a:pt x="1553" y="520"/>
                  </a:lnTo>
                  <a:lnTo>
                    <a:pt x="1491" y="485"/>
                  </a:lnTo>
                  <a:lnTo>
                    <a:pt x="1456" y="423"/>
                  </a:lnTo>
                  <a:lnTo>
                    <a:pt x="1394" y="370"/>
                  </a:lnTo>
                  <a:lnTo>
                    <a:pt x="1333" y="282"/>
                  </a:lnTo>
                  <a:lnTo>
                    <a:pt x="1288" y="220"/>
                  </a:lnTo>
                  <a:lnTo>
                    <a:pt x="1209" y="158"/>
                  </a:lnTo>
                  <a:lnTo>
                    <a:pt x="1147" y="88"/>
                  </a:lnTo>
                  <a:lnTo>
                    <a:pt x="1103" y="26"/>
                  </a:lnTo>
                  <a:lnTo>
                    <a:pt x="1015" y="44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5" name="Freeform 26"/>
            <p:cNvSpPr>
              <a:spLocks noChangeArrowheads="1"/>
            </p:cNvSpPr>
            <p:nvPr/>
          </p:nvSpPr>
          <p:spPr bwMode="auto">
            <a:xfrm>
              <a:off x="2312598" y="4991507"/>
              <a:ext cx="1084742" cy="579313"/>
            </a:xfrm>
            <a:custGeom>
              <a:avLst/>
              <a:gdLst/>
              <a:ahLst/>
              <a:cxnLst>
                <a:cxn ang="0">
                  <a:pos x="230" y="1208"/>
                </a:cxn>
                <a:cxn ang="0">
                  <a:pos x="406" y="1253"/>
                </a:cxn>
                <a:cxn ang="0">
                  <a:pos x="556" y="1217"/>
                </a:cxn>
                <a:cxn ang="0">
                  <a:pos x="733" y="1253"/>
                </a:cxn>
                <a:cxn ang="0">
                  <a:pos x="874" y="1085"/>
                </a:cxn>
                <a:cxn ang="0">
                  <a:pos x="980" y="1032"/>
                </a:cxn>
                <a:cxn ang="0">
                  <a:pos x="1165" y="1094"/>
                </a:cxn>
                <a:cxn ang="0">
                  <a:pos x="1324" y="1217"/>
                </a:cxn>
                <a:cxn ang="0">
                  <a:pos x="1509" y="1358"/>
                </a:cxn>
                <a:cxn ang="0">
                  <a:pos x="1889" y="1508"/>
                </a:cxn>
                <a:cxn ang="0">
                  <a:pos x="2092" y="1553"/>
                </a:cxn>
                <a:cxn ang="0">
                  <a:pos x="2321" y="1535"/>
                </a:cxn>
                <a:cxn ang="0">
                  <a:pos x="2462" y="1561"/>
                </a:cxn>
                <a:cxn ang="0">
                  <a:pos x="2639" y="1685"/>
                </a:cxn>
                <a:cxn ang="0">
                  <a:pos x="2833" y="1694"/>
                </a:cxn>
                <a:cxn ang="0">
                  <a:pos x="2965" y="1853"/>
                </a:cxn>
                <a:cxn ang="0">
                  <a:pos x="3124" y="1950"/>
                </a:cxn>
                <a:cxn ang="0">
                  <a:pos x="3292" y="2055"/>
                </a:cxn>
                <a:cxn ang="0">
                  <a:pos x="3715" y="1800"/>
                </a:cxn>
                <a:cxn ang="0">
                  <a:pos x="3574" y="1694"/>
                </a:cxn>
                <a:cxn ang="0">
                  <a:pos x="3442" y="1694"/>
                </a:cxn>
                <a:cxn ang="0">
                  <a:pos x="3301" y="1570"/>
                </a:cxn>
                <a:cxn ang="0">
                  <a:pos x="3159" y="1597"/>
                </a:cxn>
                <a:cxn ang="0">
                  <a:pos x="3018" y="1579"/>
                </a:cxn>
                <a:cxn ang="0">
                  <a:pos x="2948" y="1473"/>
                </a:cxn>
                <a:cxn ang="0">
                  <a:pos x="2921" y="1367"/>
                </a:cxn>
                <a:cxn ang="0">
                  <a:pos x="2798" y="1235"/>
                </a:cxn>
                <a:cxn ang="0">
                  <a:pos x="2568" y="1226"/>
                </a:cxn>
                <a:cxn ang="0">
                  <a:pos x="2542" y="1058"/>
                </a:cxn>
                <a:cxn ang="0">
                  <a:pos x="2427" y="970"/>
                </a:cxn>
                <a:cxn ang="0">
                  <a:pos x="2303" y="953"/>
                </a:cxn>
                <a:cxn ang="0">
                  <a:pos x="2268" y="829"/>
                </a:cxn>
                <a:cxn ang="0">
                  <a:pos x="2224" y="714"/>
                </a:cxn>
                <a:cxn ang="0">
                  <a:pos x="1995" y="679"/>
                </a:cxn>
                <a:cxn ang="0">
                  <a:pos x="1845" y="582"/>
                </a:cxn>
                <a:cxn ang="0">
                  <a:pos x="1668" y="573"/>
                </a:cxn>
                <a:cxn ang="0">
                  <a:pos x="1492" y="555"/>
                </a:cxn>
                <a:cxn ang="0">
                  <a:pos x="1403" y="405"/>
                </a:cxn>
                <a:cxn ang="0">
                  <a:pos x="1227" y="370"/>
                </a:cxn>
                <a:cxn ang="0">
                  <a:pos x="1112" y="423"/>
                </a:cxn>
                <a:cxn ang="0">
                  <a:pos x="936" y="467"/>
                </a:cxn>
                <a:cxn ang="0">
                  <a:pos x="786" y="450"/>
                </a:cxn>
                <a:cxn ang="0">
                  <a:pos x="653" y="308"/>
                </a:cxn>
                <a:cxn ang="0">
                  <a:pos x="618" y="35"/>
                </a:cxn>
                <a:cxn ang="0">
                  <a:pos x="441" y="79"/>
                </a:cxn>
                <a:cxn ang="0">
                  <a:pos x="256" y="167"/>
                </a:cxn>
                <a:cxn ang="0">
                  <a:pos x="44" y="238"/>
                </a:cxn>
                <a:cxn ang="0">
                  <a:pos x="53" y="503"/>
                </a:cxn>
                <a:cxn ang="0">
                  <a:pos x="97" y="653"/>
                </a:cxn>
                <a:cxn ang="0">
                  <a:pos x="133" y="820"/>
                </a:cxn>
                <a:cxn ang="0">
                  <a:pos x="44" y="900"/>
                </a:cxn>
                <a:cxn ang="0">
                  <a:pos x="80" y="1094"/>
                </a:cxn>
              </a:cxnLst>
              <a:rect l="0" t="0" r="r" b="b"/>
              <a:pathLst>
                <a:path w="3893" h="2056">
                  <a:moveTo>
                    <a:pt x="97" y="1182"/>
                  </a:moveTo>
                  <a:lnTo>
                    <a:pt x="159" y="1200"/>
                  </a:lnTo>
                  <a:lnTo>
                    <a:pt x="230" y="1208"/>
                  </a:lnTo>
                  <a:lnTo>
                    <a:pt x="283" y="1244"/>
                  </a:lnTo>
                  <a:lnTo>
                    <a:pt x="335" y="1253"/>
                  </a:lnTo>
                  <a:lnTo>
                    <a:pt x="406" y="1253"/>
                  </a:lnTo>
                  <a:lnTo>
                    <a:pt x="477" y="1270"/>
                  </a:lnTo>
                  <a:lnTo>
                    <a:pt x="459" y="1217"/>
                  </a:lnTo>
                  <a:lnTo>
                    <a:pt x="556" y="1217"/>
                  </a:lnTo>
                  <a:lnTo>
                    <a:pt x="618" y="1244"/>
                  </a:lnTo>
                  <a:lnTo>
                    <a:pt x="671" y="1288"/>
                  </a:lnTo>
                  <a:lnTo>
                    <a:pt x="733" y="1253"/>
                  </a:lnTo>
                  <a:lnTo>
                    <a:pt x="794" y="1244"/>
                  </a:lnTo>
                  <a:lnTo>
                    <a:pt x="865" y="1244"/>
                  </a:lnTo>
                  <a:lnTo>
                    <a:pt x="874" y="1085"/>
                  </a:lnTo>
                  <a:lnTo>
                    <a:pt x="936" y="1094"/>
                  </a:lnTo>
                  <a:lnTo>
                    <a:pt x="944" y="1058"/>
                  </a:lnTo>
                  <a:lnTo>
                    <a:pt x="980" y="1032"/>
                  </a:lnTo>
                  <a:lnTo>
                    <a:pt x="1059" y="1076"/>
                  </a:lnTo>
                  <a:lnTo>
                    <a:pt x="1121" y="1103"/>
                  </a:lnTo>
                  <a:lnTo>
                    <a:pt x="1165" y="1094"/>
                  </a:lnTo>
                  <a:lnTo>
                    <a:pt x="1218" y="1147"/>
                  </a:lnTo>
                  <a:lnTo>
                    <a:pt x="1280" y="1155"/>
                  </a:lnTo>
                  <a:lnTo>
                    <a:pt x="1324" y="1217"/>
                  </a:lnTo>
                  <a:lnTo>
                    <a:pt x="1377" y="1261"/>
                  </a:lnTo>
                  <a:lnTo>
                    <a:pt x="1421" y="1323"/>
                  </a:lnTo>
                  <a:lnTo>
                    <a:pt x="1509" y="1358"/>
                  </a:lnTo>
                  <a:lnTo>
                    <a:pt x="1642" y="1438"/>
                  </a:lnTo>
                  <a:lnTo>
                    <a:pt x="1800" y="1420"/>
                  </a:lnTo>
                  <a:lnTo>
                    <a:pt x="1889" y="1508"/>
                  </a:lnTo>
                  <a:lnTo>
                    <a:pt x="1959" y="1517"/>
                  </a:lnTo>
                  <a:lnTo>
                    <a:pt x="2039" y="1553"/>
                  </a:lnTo>
                  <a:lnTo>
                    <a:pt x="2092" y="1553"/>
                  </a:lnTo>
                  <a:lnTo>
                    <a:pt x="2153" y="1579"/>
                  </a:lnTo>
                  <a:lnTo>
                    <a:pt x="2233" y="1579"/>
                  </a:lnTo>
                  <a:lnTo>
                    <a:pt x="2321" y="1535"/>
                  </a:lnTo>
                  <a:lnTo>
                    <a:pt x="2374" y="1561"/>
                  </a:lnTo>
                  <a:lnTo>
                    <a:pt x="2427" y="1570"/>
                  </a:lnTo>
                  <a:lnTo>
                    <a:pt x="2462" y="1561"/>
                  </a:lnTo>
                  <a:lnTo>
                    <a:pt x="2533" y="1614"/>
                  </a:lnTo>
                  <a:lnTo>
                    <a:pt x="2577" y="1667"/>
                  </a:lnTo>
                  <a:lnTo>
                    <a:pt x="2639" y="1685"/>
                  </a:lnTo>
                  <a:lnTo>
                    <a:pt x="2718" y="1711"/>
                  </a:lnTo>
                  <a:lnTo>
                    <a:pt x="2780" y="1641"/>
                  </a:lnTo>
                  <a:lnTo>
                    <a:pt x="2833" y="1694"/>
                  </a:lnTo>
                  <a:lnTo>
                    <a:pt x="2868" y="1773"/>
                  </a:lnTo>
                  <a:lnTo>
                    <a:pt x="2904" y="1817"/>
                  </a:lnTo>
                  <a:lnTo>
                    <a:pt x="2965" y="1853"/>
                  </a:lnTo>
                  <a:lnTo>
                    <a:pt x="3018" y="1861"/>
                  </a:lnTo>
                  <a:lnTo>
                    <a:pt x="3080" y="1905"/>
                  </a:lnTo>
                  <a:lnTo>
                    <a:pt x="3124" y="1950"/>
                  </a:lnTo>
                  <a:lnTo>
                    <a:pt x="3186" y="1967"/>
                  </a:lnTo>
                  <a:lnTo>
                    <a:pt x="3257" y="2003"/>
                  </a:lnTo>
                  <a:lnTo>
                    <a:pt x="3292" y="2055"/>
                  </a:lnTo>
                  <a:lnTo>
                    <a:pt x="3892" y="1853"/>
                  </a:lnTo>
                  <a:lnTo>
                    <a:pt x="3795" y="1826"/>
                  </a:lnTo>
                  <a:lnTo>
                    <a:pt x="3715" y="1800"/>
                  </a:lnTo>
                  <a:lnTo>
                    <a:pt x="3671" y="1755"/>
                  </a:lnTo>
                  <a:lnTo>
                    <a:pt x="3636" y="1729"/>
                  </a:lnTo>
                  <a:lnTo>
                    <a:pt x="3574" y="1694"/>
                  </a:lnTo>
                  <a:lnTo>
                    <a:pt x="3530" y="1729"/>
                  </a:lnTo>
                  <a:lnTo>
                    <a:pt x="3495" y="1685"/>
                  </a:lnTo>
                  <a:lnTo>
                    <a:pt x="3442" y="1694"/>
                  </a:lnTo>
                  <a:lnTo>
                    <a:pt x="3380" y="1658"/>
                  </a:lnTo>
                  <a:lnTo>
                    <a:pt x="3407" y="1614"/>
                  </a:lnTo>
                  <a:lnTo>
                    <a:pt x="3301" y="1570"/>
                  </a:lnTo>
                  <a:lnTo>
                    <a:pt x="3239" y="1579"/>
                  </a:lnTo>
                  <a:lnTo>
                    <a:pt x="3204" y="1553"/>
                  </a:lnTo>
                  <a:lnTo>
                    <a:pt x="3159" y="1597"/>
                  </a:lnTo>
                  <a:lnTo>
                    <a:pt x="3124" y="1570"/>
                  </a:lnTo>
                  <a:lnTo>
                    <a:pt x="3062" y="1605"/>
                  </a:lnTo>
                  <a:lnTo>
                    <a:pt x="3018" y="1579"/>
                  </a:lnTo>
                  <a:lnTo>
                    <a:pt x="3001" y="1526"/>
                  </a:lnTo>
                  <a:lnTo>
                    <a:pt x="2948" y="1526"/>
                  </a:lnTo>
                  <a:lnTo>
                    <a:pt x="2948" y="1473"/>
                  </a:lnTo>
                  <a:lnTo>
                    <a:pt x="2904" y="1438"/>
                  </a:lnTo>
                  <a:lnTo>
                    <a:pt x="2895" y="1385"/>
                  </a:lnTo>
                  <a:lnTo>
                    <a:pt x="2921" y="1367"/>
                  </a:lnTo>
                  <a:lnTo>
                    <a:pt x="2912" y="1297"/>
                  </a:lnTo>
                  <a:lnTo>
                    <a:pt x="2859" y="1253"/>
                  </a:lnTo>
                  <a:lnTo>
                    <a:pt x="2798" y="1235"/>
                  </a:lnTo>
                  <a:lnTo>
                    <a:pt x="2701" y="1235"/>
                  </a:lnTo>
                  <a:lnTo>
                    <a:pt x="2621" y="1191"/>
                  </a:lnTo>
                  <a:lnTo>
                    <a:pt x="2568" y="1226"/>
                  </a:lnTo>
                  <a:lnTo>
                    <a:pt x="2542" y="1182"/>
                  </a:lnTo>
                  <a:lnTo>
                    <a:pt x="2515" y="1120"/>
                  </a:lnTo>
                  <a:lnTo>
                    <a:pt x="2542" y="1058"/>
                  </a:lnTo>
                  <a:lnTo>
                    <a:pt x="2533" y="997"/>
                  </a:lnTo>
                  <a:lnTo>
                    <a:pt x="2480" y="953"/>
                  </a:lnTo>
                  <a:lnTo>
                    <a:pt x="2427" y="970"/>
                  </a:lnTo>
                  <a:lnTo>
                    <a:pt x="2409" y="917"/>
                  </a:lnTo>
                  <a:lnTo>
                    <a:pt x="2365" y="926"/>
                  </a:lnTo>
                  <a:lnTo>
                    <a:pt x="2303" y="953"/>
                  </a:lnTo>
                  <a:lnTo>
                    <a:pt x="2242" y="926"/>
                  </a:lnTo>
                  <a:lnTo>
                    <a:pt x="2242" y="882"/>
                  </a:lnTo>
                  <a:lnTo>
                    <a:pt x="2268" y="829"/>
                  </a:lnTo>
                  <a:lnTo>
                    <a:pt x="2250" y="785"/>
                  </a:lnTo>
                  <a:lnTo>
                    <a:pt x="2189" y="767"/>
                  </a:lnTo>
                  <a:lnTo>
                    <a:pt x="2224" y="714"/>
                  </a:lnTo>
                  <a:lnTo>
                    <a:pt x="2118" y="653"/>
                  </a:lnTo>
                  <a:lnTo>
                    <a:pt x="2065" y="661"/>
                  </a:lnTo>
                  <a:lnTo>
                    <a:pt x="1995" y="679"/>
                  </a:lnTo>
                  <a:lnTo>
                    <a:pt x="1950" y="635"/>
                  </a:lnTo>
                  <a:lnTo>
                    <a:pt x="1880" y="644"/>
                  </a:lnTo>
                  <a:lnTo>
                    <a:pt x="1845" y="582"/>
                  </a:lnTo>
                  <a:lnTo>
                    <a:pt x="1783" y="600"/>
                  </a:lnTo>
                  <a:lnTo>
                    <a:pt x="1730" y="555"/>
                  </a:lnTo>
                  <a:lnTo>
                    <a:pt x="1668" y="573"/>
                  </a:lnTo>
                  <a:lnTo>
                    <a:pt x="1589" y="591"/>
                  </a:lnTo>
                  <a:lnTo>
                    <a:pt x="1553" y="529"/>
                  </a:lnTo>
                  <a:lnTo>
                    <a:pt x="1492" y="555"/>
                  </a:lnTo>
                  <a:lnTo>
                    <a:pt x="1439" y="494"/>
                  </a:lnTo>
                  <a:lnTo>
                    <a:pt x="1403" y="458"/>
                  </a:lnTo>
                  <a:lnTo>
                    <a:pt x="1403" y="405"/>
                  </a:lnTo>
                  <a:lnTo>
                    <a:pt x="1342" y="370"/>
                  </a:lnTo>
                  <a:lnTo>
                    <a:pt x="1297" y="379"/>
                  </a:lnTo>
                  <a:lnTo>
                    <a:pt x="1227" y="370"/>
                  </a:lnTo>
                  <a:lnTo>
                    <a:pt x="1209" y="414"/>
                  </a:lnTo>
                  <a:lnTo>
                    <a:pt x="1165" y="432"/>
                  </a:lnTo>
                  <a:lnTo>
                    <a:pt x="1112" y="423"/>
                  </a:lnTo>
                  <a:lnTo>
                    <a:pt x="1068" y="450"/>
                  </a:lnTo>
                  <a:lnTo>
                    <a:pt x="1033" y="467"/>
                  </a:lnTo>
                  <a:lnTo>
                    <a:pt x="936" y="467"/>
                  </a:lnTo>
                  <a:lnTo>
                    <a:pt x="900" y="423"/>
                  </a:lnTo>
                  <a:lnTo>
                    <a:pt x="856" y="458"/>
                  </a:lnTo>
                  <a:lnTo>
                    <a:pt x="786" y="450"/>
                  </a:lnTo>
                  <a:lnTo>
                    <a:pt x="715" y="405"/>
                  </a:lnTo>
                  <a:lnTo>
                    <a:pt x="653" y="388"/>
                  </a:lnTo>
                  <a:lnTo>
                    <a:pt x="653" y="308"/>
                  </a:lnTo>
                  <a:lnTo>
                    <a:pt x="644" y="220"/>
                  </a:lnTo>
                  <a:lnTo>
                    <a:pt x="644" y="105"/>
                  </a:lnTo>
                  <a:lnTo>
                    <a:pt x="618" y="35"/>
                  </a:lnTo>
                  <a:lnTo>
                    <a:pt x="521" y="0"/>
                  </a:lnTo>
                  <a:lnTo>
                    <a:pt x="459" y="17"/>
                  </a:lnTo>
                  <a:lnTo>
                    <a:pt x="441" y="79"/>
                  </a:lnTo>
                  <a:lnTo>
                    <a:pt x="415" y="123"/>
                  </a:lnTo>
                  <a:lnTo>
                    <a:pt x="327" y="141"/>
                  </a:lnTo>
                  <a:lnTo>
                    <a:pt x="256" y="167"/>
                  </a:lnTo>
                  <a:lnTo>
                    <a:pt x="177" y="176"/>
                  </a:lnTo>
                  <a:lnTo>
                    <a:pt x="97" y="194"/>
                  </a:lnTo>
                  <a:lnTo>
                    <a:pt x="44" y="238"/>
                  </a:lnTo>
                  <a:lnTo>
                    <a:pt x="35" y="317"/>
                  </a:lnTo>
                  <a:lnTo>
                    <a:pt x="35" y="414"/>
                  </a:lnTo>
                  <a:lnTo>
                    <a:pt x="53" y="503"/>
                  </a:lnTo>
                  <a:lnTo>
                    <a:pt x="80" y="564"/>
                  </a:lnTo>
                  <a:lnTo>
                    <a:pt x="106" y="591"/>
                  </a:lnTo>
                  <a:lnTo>
                    <a:pt x="97" y="653"/>
                  </a:lnTo>
                  <a:lnTo>
                    <a:pt x="115" y="732"/>
                  </a:lnTo>
                  <a:lnTo>
                    <a:pt x="141" y="776"/>
                  </a:lnTo>
                  <a:lnTo>
                    <a:pt x="133" y="820"/>
                  </a:lnTo>
                  <a:lnTo>
                    <a:pt x="53" y="838"/>
                  </a:lnTo>
                  <a:lnTo>
                    <a:pt x="0" y="855"/>
                  </a:lnTo>
                  <a:lnTo>
                    <a:pt x="44" y="900"/>
                  </a:lnTo>
                  <a:lnTo>
                    <a:pt x="44" y="979"/>
                  </a:lnTo>
                  <a:lnTo>
                    <a:pt x="71" y="1032"/>
                  </a:lnTo>
                  <a:lnTo>
                    <a:pt x="80" y="1094"/>
                  </a:lnTo>
                  <a:lnTo>
                    <a:pt x="62" y="1138"/>
                  </a:lnTo>
                  <a:lnTo>
                    <a:pt x="97" y="1182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6" name="Freeform 27"/>
            <p:cNvSpPr>
              <a:spLocks noChangeArrowheads="1"/>
            </p:cNvSpPr>
            <p:nvPr/>
          </p:nvSpPr>
          <p:spPr bwMode="auto">
            <a:xfrm>
              <a:off x="2579416" y="4509010"/>
              <a:ext cx="1643788" cy="1080856"/>
            </a:xfrm>
            <a:custGeom>
              <a:avLst/>
              <a:gdLst/>
              <a:ahLst/>
              <a:cxnLst>
                <a:cxn ang="0">
                  <a:pos x="3283" y="3617"/>
                </a:cxn>
                <a:cxn ang="0">
                  <a:pos x="3459" y="3688"/>
                </a:cxn>
                <a:cxn ang="0">
                  <a:pos x="3751" y="3776"/>
                </a:cxn>
                <a:cxn ang="0">
                  <a:pos x="3988" y="3688"/>
                </a:cxn>
                <a:cxn ang="0">
                  <a:pos x="4217" y="3697"/>
                </a:cxn>
                <a:cxn ang="0">
                  <a:pos x="4491" y="3829"/>
                </a:cxn>
                <a:cxn ang="0">
                  <a:pos x="4685" y="3732"/>
                </a:cxn>
                <a:cxn ang="0">
                  <a:pos x="4906" y="3617"/>
                </a:cxn>
                <a:cxn ang="0">
                  <a:pos x="5073" y="3423"/>
                </a:cxn>
                <a:cxn ang="0">
                  <a:pos x="5294" y="3353"/>
                </a:cxn>
                <a:cxn ang="0">
                  <a:pos x="5479" y="3141"/>
                </a:cxn>
                <a:cxn ang="0">
                  <a:pos x="5682" y="3000"/>
                </a:cxn>
                <a:cxn ang="0">
                  <a:pos x="5868" y="2859"/>
                </a:cxn>
                <a:cxn ang="0">
                  <a:pos x="5691" y="2876"/>
                </a:cxn>
                <a:cxn ang="0">
                  <a:pos x="5506" y="2815"/>
                </a:cxn>
                <a:cxn ang="0">
                  <a:pos x="5356" y="2673"/>
                </a:cxn>
                <a:cxn ang="0">
                  <a:pos x="5197" y="2576"/>
                </a:cxn>
                <a:cxn ang="0">
                  <a:pos x="5091" y="2435"/>
                </a:cxn>
                <a:cxn ang="0">
                  <a:pos x="4932" y="2285"/>
                </a:cxn>
                <a:cxn ang="0">
                  <a:pos x="4773" y="2250"/>
                </a:cxn>
                <a:cxn ang="0">
                  <a:pos x="4641" y="2091"/>
                </a:cxn>
                <a:cxn ang="0">
                  <a:pos x="4464" y="1941"/>
                </a:cxn>
                <a:cxn ang="0">
                  <a:pos x="4182" y="1870"/>
                </a:cxn>
                <a:cxn ang="0">
                  <a:pos x="4050" y="1950"/>
                </a:cxn>
                <a:cxn ang="0">
                  <a:pos x="3908" y="2100"/>
                </a:cxn>
                <a:cxn ang="0">
                  <a:pos x="3654" y="2029"/>
                </a:cxn>
                <a:cxn ang="0">
                  <a:pos x="3398" y="1835"/>
                </a:cxn>
                <a:cxn ang="0">
                  <a:pos x="3283" y="1641"/>
                </a:cxn>
                <a:cxn ang="0">
                  <a:pos x="3124" y="1482"/>
                </a:cxn>
                <a:cxn ang="0">
                  <a:pos x="2736" y="1429"/>
                </a:cxn>
                <a:cxn ang="0">
                  <a:pos x="2436" y="1244"/>
                </a:cxn>
                <a:cxn ang="0">
                  <a:pos x="2083" y="1164"/>
                </a:cxn>
                <a:cxn ang="0">
                  <a:pos x="1942" y="820"/>
                </a:cxn>
                <a:cxn ang="0">
                  <a:pos x="1836" y="441"/>
                </a:cxn>
                <a:cxn ang="0">
                  <a:pos x="1862" y="97"/>
                </a:cxn>
                <a:cxn ang="0">
                  <a:pos x="1491" y="53"/>
                </a:cxn>
                <a:cxn ang="0">
                  <a:pos x="1474" y="291"/>
                </a:cxn>
                <a:cxn ang="0">
                  <a:pos x="1244" y="441"/>
                </a:cxn>
                <a:cxn ang="0">
                  <a:pos x="1094" y="662"/>
                </a:cxn>
                <a:cxn ang="0">
                  <a:pos x="883" y="900"/>
                </a:cxn>
                <a:cxn ang="0">
                  <a:pos x="662" y="1173"/>
                </a:cxn>
                <a:cxn ang="0">
                  <a:pos x="477" y="1412"/>
                </a:cxn>
                <a:cxn ang="0">
                  <a:pos x="203" y="1562"/>
                </a:cxn>
                <a:cxn ang="0">
                  <a:pos x="71" y="1720"/>
                </a:cxn>
                <a:cxn ang="0">
                  <a:pos x="203" y="2020"/>
                </a:cxn>
                <a:cxn ang="0">
                  <a:pos x="441" y="2117"/>
                </a:cxn>
                <a:cxn ang="0">
                  <a:pos x="591" y="2241"/>
                </a:cxn>
                <a:cxn ang="0">
                  <a:pos x="821" y="2312"/>
                </a:cxn>
                <a:cxn ang="0">
                  <a:pos x="1033" y="2391"/>
                </a:cxn>
                <a:cxn ang="0">
                  <a:pos x="1227" y="2479"/>
                </a:cxn>
                <a:cxn ang="0">
                  <a:pos x="1280" y="2638"/>
                </a:cxn>
                <a:cxn ang="0">
                  <a:pos x="1465" y="2682"/>
                </a:cxn>
                <a:cxn ang="0">
                  <a:pos x="1553" y="2832"/>
                </a:cxn>
                <a:cxn ang="0">
                  <a:pos x="1739" y="2947"/>
                </a:cxn>
                <a:cxn ang="0">
                  <a:pos x="1959" y="3079"/>
                </a:cxn>
                <a:cxn ang="0">
                  <a:pos x="1986" y="3238"/>
                </a:cxn>
                <a:cxn ang="0">
                  <a:pos x="2162" y="3282"/>
                </a:cxn>
                <a:cxn ang="0">
                  <a:pos x="2339" y="3282"/>
                </a:cxn>
                <a:cxn ang="0">
                  <a:pos x="2533" y="3397"/>
                </a:cxn>
                <a:cxn ang="0">
                  <a:pos x="2709" y="3467"/>
                </a:cxn>
                <a:cxn ang="0">
                  <a:pos x="3018" y="3582"/>
                </a:cxn>
              </a:cxnLst>
              <a:rect l="0" t="0" r="r" b="b"/>
              <a:pathLst>
                <a:path w="5895" h="3830">
                  <a:moveTo>
                    <a:pt x="3133" y="3573"/>
                  </a:moveTo>
                  <a:lnTo>
                    <a:pt x="3195" y="3573"/>
                  </a:lnTo>
                  <a:lnTo>
                    <a:pt x="3195" y="3617"/>
                  </a:lnTo>
                  <a:lnTo>
                    <a:pt x="3283" y="3617"/>
                  </a:lnTo>
                  <a:lnTo>
                    <a:pt x="3283" y="3688"/>
                  </a:lnTo>
                  <a:lnTo>
                    <a:pt x="3345" y="3662"/>
                  </a:lnTo>
                  <a:lnTo>
                    <a:pt x="3398" y="3706"/>
                  </a:lnTo>
                  <a:lnTo>
                    <a:pt x="3459" y="3688"/>
                  </a:lnTo>
                  <a:lnTo>
                    <a:pt x="3539" y="3662"/>
                  </a:lnTo>
                  <a:lnTo>
                    <a:pt x="3592" y="3697"/>
                  </a:lnTo>
                  <a:lnTo>
                    <a:pt x="3662" y="3723"/>
                  </a:lnTo>
                  <a:lnTo>
                    <a:pt x="3751" y="3776"/>
                  </a:lnTo>
                  <a:lnTo>
                    <a:pt x="3838" y="3750"/>
                  </a:lnTo>
                  <a:lnTo>
                    <a:pt x="3882" y="3706"/>
                  </a:lnTo>
                  <a:lnTo>
                    <a:pt x="3917" y="3662"/>
                  </a:lnTo>
                  <a:lnTo>
                    <a:pt x="3988" y="3688"/>
                  </a:lnTo>
                  <a:lnTo>
                    <a:pt x="4050" y="3741"/>
                  </a:lnTo>
                  <a:lnTo>
                    <a:pt x="4120" y="3767"/>
                  </a:lnTo>
                  <a:lnTo>
                    <a:pt x="4173" y="3750"/>
                  </a:lnTo>
                  <a:lnTo>
                    <a:pt x="4217" y="3697"/>
                  </a:lnTo>
                  <a:lnTo>
                    <a:pt x="4279" y="3715"/>
                  </a:lnTo>
                  <a:lnTo>
                    <a:pt x="4359" y="3759"/>
                  </a:lnTo>
                  <a:lnTo>
                    <a:pt x="4429" y="3820"/>
                  </a:lnTo>
                  <a:lnTo>
                    <a:pt x="4491" y="3829"/>
                  </a:lnTo>
                  <a:lnTo>
                    <a:pt x="4544" y="3767"/>
                  </a:lnTo>
                  <a:lnTo>
                    <a:pt x="4588" y="3697"/>
                  </a:lnTo>
                  <a:lnTo>
                    <a:pt x="4632" y="3679"/>
                  </a:lnTo>
                  <a:lnTo>
                    <a:pt x="4685" y="3732"/>
                  </a:lnTo>
                  <a:lnTo>
                    <a:pt x="4738" y="3750"/>
                  </a:lnTo>
                  <a:lnTo>
                    <a:pt x="4809" y="3759"/>
                  </a:lnTo>
                  <a:lnTo>
                    <a:pt x="4862" y="3679"/>
                  </a:lnTo>
                  <a:lnTo>
                    <a:pt x="4906" y="3617"/>
                  </a:lnTo>
                  <a:lnTo>
                    <a:pt x="4914" y="3547"/>
                  </a:lnTo>
                  <a:lnTo>
                    <a:pt x="4941" y="3476"/>
                  </a:lnTo>
                  <a:lnTo>
                    <a:pt x="5012" y="3441"/>
                  </a:lnTo>
                  <a:lnTo>
                    <a:pt x="5073" y="3423"/>
                  </a:lnTo>
                  <a:lnTo>
                    <a:pt x="5091" y="3353"/>
                  </a:lnTo>
                  <a:lnTo>
                    <a:pt x="5126" y="3309"/>
                  </a:lnTo>
                  <a:lnTo>
                    <a:pt x="5215" y="3335"/>
                  </a:lnTo>
                  <a:lnTo>
                    <a:pt x="5294" y="3353"/>
                  </a:lnTo>
                  <a:lnTo>
                    <a:pt x="5382" y="3317"/>
                  </a:lnTo>
                  <a:lnTo>
                    <a:pt x="5409" y="3238"/>
                  </a:lnTo>
                  <a:lnTo>
                    <a:pt x="5435" y="3176"/>
                  </a:lnTo>
                  <a:lnTo>
                    <a:pt x="5479" y="3141"/>
                  </a:lnTo>
                  <a:lnTo>
                    <a:pt x="5541" y="3115"/>
                  </a:lnTo>
                  <a:lnTo>
                    <a:pt x="5568" y="3053"/>
                  </a:lnTo>
                  <a:lnTo>
                    <a:pt x="5594" y="3026"/>
                  </a:lnTo>
                  <a:lnTo>
                    <a:pt x="5682" y="3000"/>
                  </a:lnTo>
                  <a:lnTo>
                    <a:pt x="5815" y="3000"/>
                  </a:lnTo>
                  <a:lnTo>
                    <a:pt x="5885" y="2973"/>
                  </a:lnTo>
                  <a:lnTo>
                    <a:pt x="5894" y="2903"/>
                  </a:lnTo>
                  <a:lnTo>
                    <a:pt x="5868" y="2859"/>
                  </a:lnTo>
                  <a:lnTo>
                    <a:pt x="5815" y="2850"/>
                  </a:lnTo>
                  <a:lnTo>
                    <a:pt x="5770" y="2876"/>
                  </a:lnTo>
                  <a:lnTo>
                    <a:pt x="5735" y="2850"/>
                  </a:lnTo>
                  <a:lnTo>
                    <a:pt x="5691" y="2876"/>
                  </a:lnTo>
                  <a:lnTo>
                    <a:pt x="5656" y="2850"/>
                  </a:lnTo>
                  <a:lnTo>
                    <a:pt x="5612" y="2832"/>
                  </a:lnTo>
                  <a:lnTo>
                    <a:pt x="5559" y="2841"/>
                  </a:lnTo>
                  <a:lnTo>
                    <a:pt x="5506" y="2815"/>
                  </a:lnTo>
                  <a:lnTo>
                    <a:pt x="5462" y="2770"/>
                  </a:lnTo>
                  <a:lnTo>
                    <a:pt x="5435" y="2726"/>
                  </a:lnTo>
                  <a:lnTo>
                    <a:pt x="5391" y="2717"/>
                  </a:lnTo>
                  <a:lnTo>
                    <a:pt x="5356" y="2673"/>
                  </a:lnTo>
                  <a:lnTo>
                    <a:pt x="5303" y="2682"/>
                  </a:lnTo>
                  <a:lnTo>
                    <a:pt x="5285" y="2620"/>
                  </a:lnTo>
                  <a:lnTo>
                    <a:pt x="5259" y="2559"/>
                  </a:lnTo>
                  <a:lnTo>
                    <a:pt x="5197" y="2576"/>
                  </a:lnTo>
                  <a:lnTo>
                    <a:pt x="5197" y="2523"/>
                  </a:lnTo>
                  <a:lnTo>
                    <a:pt x="5170" y="2453"/>
                  </a:lnTo>
                  <a:lnTo>
                    <a:pt x="5126" y="2470"/>
                  </a:lnTo>
                  <a:lnTo>
                    <a:pt x="5091" y="2435"/>
                  </a:lnTo>
                  <a:lnTo>
                    <a:pt x="5082" y="2373"/>
                  </a:lnTo>
                  <a:lnTo>
                    <a:pt x="5029" y="2373"/>
                  </a:lnTo>
                  <a:lnTo>
                    <a:pt x="4994" y="2320"/>
                  </a:lnTo>
                  <a:lnTo>
                    <a:pt x="4932" y="2285"/>
                  </a:lnTo>
                  <a:lnTo>
                    <a:pt x="4879" y="2303"/>
                  </a:lnTo>
                  <a:lnTo>
                    <a:pt x="4835" y="2320"/>
                  </a:lnTo>
                  <a:lnTo>
                    <a:pt x="4809" y="2232"/>
                  </a:lnTo>
                  <a:lnTo>
                    <a:pt x="4773" y="2250"/>
                  </a:lnTo>
                  <a:lnTo>
                    <a:pt x="4729" y="2215"/>
                  </a:lnTo>
                  <a:lnTo>
                    <a:pt x="4729" y="2162"/>
                  </a:lnTo>
                  <a:lnTo>
                    <a:pt x="4694" y="2100"/>
                  </a:lnTo>
                  <a:lnTo>
                    <a:pt x="4641" y="2091"/>
                  </a:lnTo>
                  <a:lnTo>
                    <a:pt x="4614" y="2029"/>
                  </a:lnTo>
                  <a:lnTo>
                    <a:pt x="4588" y="1959"/>
                  </a:lnTo>
                  <a:lnTo>
                    <a:pt x="4517" y="1897"/>
                  </a:lnTo>
                  <a:lnTo>
                    <a:pt x="4464" y="1941"/>
                  </a:lnTo>
                  <a:lnTo>
                    <a:pt x="4359" y="1879"/>
                  </a:lnTo>
                  <a:lnTo>
                    <a:pt x="4288" y="1835"/>
                  </a:lnTo>
                  <a:lnTo>
                    <a:pt x="4226" y="1809"/>
                  </a:lnTo>
                  <a:lnTo>
                    <a:pt x="4182" y="1870"/>
                  </a:lnTo>
                  <a:lnTo>
                    <a:pt x="4138" y="1817"/>
                  </a:lnTo>
                  <a:lnTo>
                    <a:pt x="4094" y="1826"/>
                  </a:lnTo>
                  <a:lnTo>
                    <a:pt x="4041" y="1888"/>
                  </a:lnTo>
                  <a:lnTo>
                    <a:pt x="4050" y="1950"/>
                  </a:lnTo>
                  <a:lnTo>
                    <a:pt x="4014" y="2003"/>
                  </a:lnTo>
                  <a:lnTo>
                    <a:pt x="3961" y="2012"/>
                  </a:lnTo>
                  <a:lnTo>
                    <a:pt x="3917" y="2047"/>
                  </a:lnTo>
                  <a:lnTo>
                    <a:pt x="3908" y="2100"/>
                  </a:lnTo>
                  <a:lnTo>
                    <a:pt x="3838" y="2135"/>
                  </a:lnTo>
                  <a:lnTo>
                    <a:pt x="3759" y="2117"/>
                  </a:lnTo>
                  <a:lnTo>
                    <a:pt x="3706" y="2091"/>
                  </a:lnTo>
                  <a:lnTo>
                    <a:pt x="3654" y="2029"/>
                  </a:lnTo>
                  <a:lnTo>
                    <a:pt x="3574" y="1994"/>
                  </a:lnTo>
                  <a:lnTo>
                    <a:pt x="3521" y="1959"/>
                  </a:lnTo>
                  <a:lnTo>
                    <a:pt x="3442" y="1888"/>
                  </a:lnTo>
                  <a:lnTo>
                    <a:pt x="3398" y="1835"/>
                  </a:lnTo>
                  <a:lnTo>
                    <a:pt x="3389" y="1747"/>
                  </a:lnTo>
                  <a:lnTo>
                    <a:pt x="3345" y="1729"/>
                  </a:lnTo>
                  <a:lnTo>
                    <a:pt x="3327" y="1667"/>
                  </a:lnTo>
                  <a:lnTo>
                    <a:pt x="3283" y="1641"/>
                  </a:lnTo>
                  <a:lnTo>
                    <a:pt x="3221" y="1623"/>
                  </a:lnTo>
                  <a:lnTo>
                    <a:pt x="3221" y="1570"/>
                  </a:lnTo>
                  <a:lnTo>
                    <a:pt x="3186" y="1509"/>
                  </a:lnTo>
                  <a:lnTo>
                    <a:pt x="3124" y="1482"/>
                  </a:lnTo>
                  <a:lnTo>
                    <a:pt x="3115" y="1376"/>
                  </a:lnTo>
                  <a:lnTo>
                    <a:pt x="2965" y="1385"/>
                  </a:lnTo>
                  <a:lnTo>
                    <a:pt x="2850" y="1412"/>
                  </a:lnTo>
                  <a:lnTo>
                    <a:pt x="2736" y="1429"/>
                  </a:lnTo>
                  <a:lnTo>
                    <a:pt x="2648" y="1394"/>
                  </a:lnTo>
                  <a:lnTo>
                    <a:pt x="2577" y="1341"/>
                  </a:lnTo>
                  <a:lnTo>
                    <a:pt x="2497" y="1306"/>
                  </a:lnTo>
                  <a:lnTo>
                    <a:pt x="2436" y="1244"/>
                  </a:lnTo>
                  <a:lnTo>
                    <a:pt x="2339" y="1217"/>
                  </a:lnTo>
                  <a:lnTo>
                    <a:pt x="2242" y="1200"/>
                  </a:lnTo>
                  <a:lnTo>
                    <a:pt x="2153" y="1217"/>
                  </a:lnTo>
                  <a:lnTo>
                    <a:pt x="2083" y="1164"/>
                  </a:lnTo>
                  <a:lnTo>
                    <a:pt x="2003" y="1085"/>
                  </a:lnTo>
                  <a:lnTo>
                    <a:pt x="1977" y="1014"/>
                  </a:lnTo>
                  <a:lnTo>
                    <a:pt x="1933" y="962"/>
                  </a:lnTo>
                  <a:lnTo>
                    <a:pt x="1942" y="820"/>
                  </a:lnTo>
                  <a:lnTo>
                    <a:pt x="1906" y="723"/>
                  </a:lnTo>
                  <a:lnTo>
                    <a:pt x="1862" y="635"/>
                  </a:lnTo>
                  <a:lnTo>
                    <a:pt x="1862" y="529"/>
                  </a:lnTo>
                  <a:lnTo>
                    <a:pt x="1836" y="441"/>
                  </a:lnTo>
                  <a:lnTo>
                    <a:pt x="1889" y="379"/>
                  </a:lnTo>
                  <a:lnTo>
                    <a:pt x="1942" y="273"/>
                  </a:lnTo>
                  <a:lnTo>
                    <a:pt x="1924" y="159"/>
                  </a:lnTo>
                  <a:lnTo>
                    <a:pt x="1862" y="97"/>
                  </a:lnTo>
                  <a:lnTo>
                    <a:pt x="1747" y="35"/>
                  </a:lnTo>
                  <a:lnTo>
                    <a:pt x="1641" y="0"/>
                  </a:lnTo>
                  <a:lnTo>
                    <a:pt x="1536" y="0"/>
                  </a:lnTo>
                  <a:lnTo>
                    <a:pt x="1491" y="53"/>
                  </a:lnTo>
                  <a:lnTo>
                    <a:pt x="1412" y="141"/>
                  </a:lnTo>
                  <a:lnTo>
                    <a:pt x="1386" y="194"/>
                  </a:lnTo>
                  <a:lnTo>
                    <a:pt x="1430" y="247"/>
                  </a:lnTo>
                  <a:lnTo>
                    <a:pt x="1474" y="291"/>
                  </a:lnTo>
                  <a:lnTo>
                    <a:pt x="1456" y="344"/>
                  </a:lnTo>
                  <a:lnTo>
                    <a:pt x="1386" y="414"/>
                  </a:lnTo>
                  <a:lnTo>
                    <a:pt x="1288" y="467"/>
                  </a:lnTo>
                  <a:lnTo>
                    <a:pt x="1244" y="441"/>
                  </a:lnTo>
                  <a:lnTo>
                    <a:pt x="1183" y="432"/>
                  </a:lnTo>
                  <a:lnTo>
                    <a:pt x="1156" y="476"/>
                  </a:lnTo>
                  <a:lnTo>
                    <a:pt x="1138" y="564"/>
                  </a:lnTo>
                  <a:lnTo>
                    <a:pt x="1094" y="662"/>
                  </a:lnTo>
                  <a:lnTo>
                    <a:pt x="1033" y="732"/>
                  </a:lnTo>
                  <a:lnTo>
                    <a:pt x="980" y="767"/>
                  </a:lnTo>
                  <a:lnTo>
                    <a:pt x="944" y="838"/>
                  </a:lnTo>
                  <a:lnTo>
                    <a:pt x="883" y="900"/>
                  </a:lnTo>
                  <a:lnTo>
                    <a:pt x="838" y="970"/>
                  </a:lnTo>
                  <a:lnTo>
                    <a:pt x="803" y="1050"/>
                  </a:lnTo>
                  <a:lnTo>
                    <a:pt x="706" y="1103"/>
                  </a:lnTo>
                  <a:lnTo>
                    <a:pt x="662" y="1173"/>
                  </a:lnTo>
                  <a:lnTo>
                    <a:pt x="600" y="1226"/>
                  </a:lnTo>
                  <a:lnTo>
                    <a:pt x="547" y="1279"/>
                  </a:lnTo>
                  <a:lnTo>
                    <a:pt x="530" y="1359"/>
                  </a:lnTo>
                  <a:lnTo>
                    <a:pt x="477" y="1412"/>
                  </a:lnTo>
                  <a:lnTo>
                    <a:pt x="397" y="1482"/>
                  </a:lnTo>
                  <a:lnTo>
                    <a:pt x="335" y="1562"/>
                  </a:lnTo>
                  <a:lnTo>
                    <a:pt x="247" y="1588"/>
                  </a:lnTo>
                  <a:lnTo>
                    <a:pt x="203" y="1562"/>
                  </a:lnTo>
                  <a:lnTo>
                    <a:pt x="124" y="1570"/>
                  </a:lnTo>
                  <a:lnTo>
                    <a:pt x="115" y="1614"/>
                  </a:lnTo>
                  <a:lnTo>
                    <a:pt x="88" y="1650"/>
                  </a:lnTo>
                  <a:lnTo>
                    <a:pt x="71" y="1720"/>
                  </a:lnTo>
                  <a:lnTo>
                    <a:pt x="27" y="1765"/>
                  </a:lnTo>
                  <a:lnTo>
                    <a:pt x="0" y="1835"/>
                  </a:lnTo>
                  <a:lnTo>
                    <a:pt x="88" y="1915"/>
                  </a:lnTo>
                  <a:lnTo>
                    <a:pt x="203" y="2020"/>
                  </a:lnTo>
                  <a:lnTo>
                    <a:pt x="265" y="2082"/>
                  </a:lnTo>
                  <a:lnTo>
                    <a:pt x="335" y="2091"/>
                  </a:lnTo>
                  <a:lnTo>
                    <a:pt x="380" y="2082"/>
                  </a:lnTo>
                  <a:lnTo>
                    <a:pt x="441" y="2117"/>
                  </a:lnTo>
                  <a:lnTo>
                    <a:pt x="441" y="2170"/>
                  </a:lnTo>
                  <a:lnTo>
                    <a:pt x="477" y="2206"/>
                  </a:lnTo>
                  <a:lnTo>
                    <a:pt x="530" y="2267"/>
                  </a:lnTo>
                  <a:lnTo>
                    <a:pt x="591" y="2241"/>
                  </a:lnTo>
                  <a:lnTo>
                    <a:pt x="627" y="2303"/>
                  </a:lnTo>
                  <a:lnTo>
                    <a:pt x="706" y="2285"/>
                  </a:lnTo>
                  <a:lnTo>
                    <a:pt x="768" y="2267"/>
                  </a:lnTo>
                  <a:lnTo>
                    <a:pt x="821" y="2312"/>
                  </a:lnTo>
                  <a:lnTo>
                    <a:pt x="883" y="2294"/>
                  </a:lnTo>
                  <a:lnTo>
                    <a:pt x="918" y="2356"/>
                  </a:lnTo>
                  <a:lnTo>
                    <a:pt x="988" y="2347"/>
                  </a:lnTo>
                  <a:lnTo>
                    <a:pt x="1033" y="2391"/>
                  </a:lnTo>
                  <a:lnTo>
                    <a:pt x="1103" y="2373"/>
                  </a:lnTo>
                  <a:lnTo>
                    <a:pt x="1156" y="2365"/>
                  </a:lnTo>
                  <a:lnTo>
                    <a:pt x="1262" y="2426"/>
                  </a:lnTo>
                  <a:lnTo>
                    <a:pt x="1227" y="2479"/>
                  </a:lnTo>
                  <a:lnTo>
                    <a:pt x="1288" y="2497"/>
                  </a:lnTo>
                  <a:lnTo>
                    <a:pt x="1306" y="2541"/>
                  </a:lnTo>
                  <a:lnTo>
                    <a:pt x="1280" y="2594"/>
                  </a:lnTo>
                  <a:lnTo>
                    <a:pt x="1280" y="2638"/>
                  </a:lnTo>
                  <a:lnTo>
                    <a:pt x="1341" y="2665"/>
                  </a:lnTo>
                  <a:lnTo>
                    <a:pt x="1403" y="2638"/>
                  </a:lnTo>
                  <a:lnTo>
                    <a:pt x="1447" y="2629"/>
                  </a:lnTo>
                  <a:lnTo>
                    <a:pt x="1465" y="2682"/>
                  </a:lnTo>
                  <a:lnTo>
                    <a:pt x="1518" y="2665"/>
                  </a:lnTo>
                  <a:lnTo>
                    <a:pt x="1571" y="2709"/>
                  </a:lnTo>
                  <a:lnTo>
                    <a:pt x="1580" y="2770"/>
                  </a:lnTo>
                  <a:lnTo>
                    <a:pt x="1553" y="2832"/>
                  </a:lnTo>
                  <a:lnTo>
                    <a:pt x="1580" y="2894"/>
                  </a:lnTo>
                  <a:lnTo>
                    <a:pt x="1606" y="2938"/>
                  </a:lnTo>
                  <a:lnTo>
                    <a:pt x="1659" y="2903"/>
                  </a:lnTo>
                  <a:lnTo>
                    <a:pt x="1739" y="2947"/>
                  </a:lnTo>
                  <a:lnTo>
                    <a:pt x="1836" y="2947"/>
                  </a:lnTo>
                  <a:lnTo>
                    <a:pt x="1897" y="2965"/>
                  </a:lnTo>
                  <a:lnTo>
                    <a:pt x="1950" y="3009"/>
                  </a:lnTo>
                  <a:lnTo>
                    <a:pt x="1959" y="3079"/>
                  </a:lnTo>
                  <a:lnTo>
                    <a:pt x="1933" y="3097"/>
                  </a:lnTo>
                  <a:lnTo>
                    <a:pt x="1942" y="3150"/>
                  </a:lnTo>
                  <a:lnTo>
                    <a:pt x="1986" y="3185"/>
                  </a:lnTo>
                  <a:lnTo>
                    <a:pt x="1986" y="3238"/>
                  </a:lnTo>
                  <a:lnTo>
                    <a:pt x="2039" y="3238"/>
                  </a:lnTo>
                  <a:lnTo>
                    <a:pt x="2056" y="3291"/>
                  </a:lnTo>
                  <a:lnTo>
                    <a:pt x="2100" y="3317"/>
                  </a:lnTo>
                  <a:lnTo>
                    <a:pt x="2162" y="3282"/>
                  </a:lnTo>
                  <a:lnTo>
                    <a:pt x="2197" y="3309"/>
                  </a:lnTo>
                  <a:lnTo>
                    <a:pt x="2242" y="3265"/>
                  </a:lnTo>
                  <a:lnTo>
                    <a:pt x="2277" y="3291"/>
                  </a:lnTo>
                  <a:lnTo>
                    <a:pt x="2339" y="3282"/>
                  </a:lnTo>
                  <a:lnTo>
                    <a:pt x="2445" y="3326"/>
                  </a:lnTo>
                  <a:lnTo>
                    <a:pt x="2418" y="3370"/>
                  </a:lnTo>
                  <a:lnTo>
                    <a:pt x="2480" y="3406"/>
                  </a:lnTo>
                  <a:lnTo>
                    <a:pt x="2533" y="3397"/>
                  </a:lnTo>
                  <a:lnTo>
                    <a:pt x="2568" y="3441"/>
                  </a:lnTo>
                  <a:lnTo>
                    <a:pt x="2612" y="3406"/>
                  </a:lnTo>
                  <a:lnTo>
                    <a:pt x="2674" y="3441"/>
                  </a:lnTo>
                  <a:lnTo>
                    <a:pt x="2709" y="3467"/>
                  </a:lnTo>
                  <a:lnTo>
                    <a:pt x="2753" y="3512"/>
                  </a:lnTo>
                  <a:lnTo>
                    <a:pt x="2833" y="3538"/>
                  </a:lnTo>
                  <a:lnTo>
                    <a:pt x="2930" y="3565"/>
                  </a:lnTo>
                  <a:lnTo>
                    <a:pt x="3018" y="3582"/>
                  </a:lnTo>
                  <a:lnTo>
                    <a:pt x="3071" y="3556"/>
                  </a:lnTo>
                  <a:lnTo>
                    <a:pt x="3133" y="3573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7" name="Freeform 30"/>
            <p:cNvSpPr>
              <a:spLocks noChangeArrowheads="1"/>
            </p:cNvSpPr>
            <p:nvPr/>
          </p:nvSpPr>
          <p:spPr bwMode="auto">
            <a:xfrm>
              <a:off x="3228991" y="5327985"/>
              <a:ext cx="1632670" cy="1237986"/>
            </a:xfrm>
            <a:custGeom>
              <a:avLst/>
              <a:gdLst/>
              <a:ahLst/>
              <a:cxnLst>
                <a:cxn ang="0">
                  <a:pos x="803" y="670"/>
                </a:cxn>
                <a:cxn ang="0">
                  <a:pos x="1015" y="759"/>
                </a:cxn>
                <a:cxn ang="0">
                  <a:pos x="1332" y="820"/>
                </a:cxn>
                <a:cxn ang="0">
                  <a:pos x="1658" y="785"/>
                </a:cxn>
                <a:cxn ang="0">
                  <a:pos x="1949" y="812"/>
                </a:cxn>
                <a:cxn ang="0">
                  <a:pos x="2258" y="794"/>
                </a:cxn>
                <a:cxn ang="0">
                  <a:pos x="2532" y="776"/>
                </a:cxn>
                <a:cxn ang="0">
                  <a:pos x="2743" y="520"/>
                </a:cxn>
                <a:cxn ang="0">
                  <a:pos x="3052" y="414"/>
                </a:cxn>
                <a:cxn ang="0">
                  <a:pos x="3238" y="150"/>
                </a:cxn>
                <a:cxn ang="0">
                  <a:pos x="3564" y="0"/>
                </a:cxn>
                <a:cxn ang="0">
                  <a:pos x="3793" y="106"/>
                </a:cxn>
                <a:cxn ang="0">
                  <a:pos x="4076" y="229"/>
                </a:cxn>
                <a:cxn ang="0">
                  <a:pos x="4217" y="450"/>
                </a:cxn>
                <a:cxn ang="0">
                  <a:pos x="4561" y="476"/>
                </a:cxn>
                <a:cxn ang="0">
                  <a:pos x="4852" y="520"/>
                </a:cxn>
                <a:cxn ang="0">
                  <a:pos x="4861" y="688"/>
                </a:cxn>
                <a:cxn ang="0">
                  <a:pos x="4852" y="953"/>
                </a:cxn>
                <a:cxn ang="0">
                  <a:pos x="4914" y="1129"/>
                </a:cxn>
                <a:cxn ang="0">
                  <a:pos x="4994" y="1120"/>
                </a:cxn>
                <a:cxn ang="0">
                  <a:pos x="5214" y="1120"/>
                </a:cxn>
                <a:cxn ang="0">
                  <a:pos x="5426" y="1209"/>
                </a:cxn>
                <a:cxn ang="0">
                  <a:pos x="5523" y="1253"/>
                </a:cxn>
                <a:cxn ang="0">
                  <a:pos x="5779" y="1209"/>
                </a:cxn>
                <a:cxn ang="0">
                  <a:pos x="5814" y="1367"/>
                </a:cxn>
                <a:cxn ang="0">
                  <a:pos x="5250" y="4393"/>
                </a:cxn>
                <a:cxn ang="0">
                  <a:pos x="5100" y="4146"/>
                </a:cxn>
                <a:cxn ang="0">
                  <a:pos x="4861" y="3961"/>
                </a:cxn>
                <a:cxn ang="0">
                  <a:pos x="4508" y="4014"/>
                </a:cxn>
                <a:cxn ang="0">
                  <a:pos x="4994" y="2866"/>
                </a:cxn>
                <a:cxn ang="0">
                  <a:pos x="4817" y="2743"/>
                </a:cxn>
                <a:cxn ang="0">
                  <a:pos x="4658" y="2619"/>
                </a:cxn>
                <a:cxn ang="0">
                  <a:pos x="4455" y="2593"/>
                </a:cxn>
                <a:cxn ang="0">
                  <a:pos x="4226" y="2452"/>
                </a:cxn>
                <a:cxn ang="0">
                  <a:pos x="3952" y="2469"/>
                </a:cxn>
                <a:cxn ang="0">
                  <a:pos x="3732" y="2575"/>
                </a:cxn>
                <a:cxn ang="0">
                  <a:pos x="3467" y="2593"/>
                </a:cxn>
                <a:cxn ang="0">
                  <a:pos x="3193" y="2381"/>
                </a:cxn>
                <a:cxn ang="0">
                  <a:pos x="2982" y="2566"/>
                </a:cxn>
                <a:cxn ang="0">
                  <a:pos x="2690" y="2716"/>
                </a:cxn>
                <a:cxn ang="0">
                  <a:pos x="2346" y="2708"/>
                </a:cxn>
                <a:cxn ang="0">
                  <a:pos x="2073" y="2769"/>
                </a:cxn>
                <a:cxn ang="0">
                  <a:pos x="1764" y="2725"/>
                </a:cxn>
                <a:cxn ang="0">
                  <a:pos x="1526" y="2611"/>
                </a:cxn>
                <a:cxn ang="0">
                  <a:pos x="1578" y="2399"/>
                </a:cxn>
                <a:cxn ang="0">
                  <a:pos x="1517" y="2187"/>
                </a:cxn>
                <a:cxn ang="0">
                  <a:pos x="1368" y="2108"/>
                </a:cxn>
                <a:cxn ang="0">
                  <a:pos x="1094" y="2072"/>
                </a:cxn>
                <a:cxn ang="0">
                  <a:pos x="1121" y="1843"/>
                </a:cxn>
                <a:cxn ang="0">
                  <a:pos x="971" y="1649"/>
                </a:cxn>
                <a:cxn ang="0">
                  <a:pos x="582" y="1473"/>
                </a:cxn>
                <a:cxn ang="0">
                  <a:pos x="326" y="1350"/>
                </a:cxn>
                <a:cxn ang="0">
                  <a:pos x="123" y="1209"/>
                </a:cxn>
                <a:cxn ang="0">
                  <a:pos x="62" y="997"/>
                </a:cxn>
              </a:cxnLst>
              <a:rect l="0" t="0" r="r" b="b"/>
              <a:pathLst>
                <a:path w="5859" h="4394">
                  <a:moveTo>
                    <a:pt x="0" y="856"/>
                  </a:moveTo>
                  <a:lnTo>
                    <a:pt x="600" y="662"/>
                  </a:lnTo>
                  <a:lnTo>
                    <a:pt x="688" y="679"/>
                  </a:lnTo>
                  <a:lnTo>
                    <a:pt x="741" y="653"/>
                  </a:lnTo>
                  <a:lnTo>
                    <a:pt x="803" y="670"/>
                  </a:lnTo>
                  <a:lnTo>
                    <a:pt x="865" y="670"/>
                  </a:lnTo>
                  <a:lnTo>
                    <a:pt x="865" y="714"/>
                  </a:lnTo>
                  <a:lnTo>
                    <a:pt x="953" y="714"/>
                  </a:lnTo>
                  <a:lnTo>
                    <a:pt x="953" y="785"/>
                  </a:lnTo>
                  <a:lnTo>
                    <a:pt x="1015" y="759"/>
                  </a:lnTo>
                  <a:lnTo>
                    <a:pt x="1068" y="803"/>
                  </a:lnTo>
                  <a:lnTo>
                    <a:pt x="1129" y="785"/>
                  </a:lnTo>
                  <a:lnTo>
                    <a:pt x="1209" y="759"/>
                  </a:lnTo>
                  <a:lnTo>
                    <a:pt x="1262" y="794"/>
                  </a:lnTo>
                  <a:lnTo>
                    <a:pt x="1332" y="820"/>
                  </a:lnTo>
                  <a:lnTo>
                    <a:pt x="1421" y="873"/>
                  </a:lnTo>
                  <a:lnTo>
                    <a:pt x="1508" y="847"/>
                  </a:lnTo>
                  <a:lnTo>
                    <a:pt x="1552" y="803"/>
                  </a:lnTo>
                  <a:lnTo>
                    <a:pt x="1587" y="759"/>
                  </a:lnTo>
                  <a:lnTo>
                    <a:pt x="1658" y="785"/>
                  </a:lnTo>
                  <a:lnTo>
                    <a:pt x="1720" y="838"/>
                  </a:lnTo>
                  <a:lnTo>
                    <a:pt x="1790" y="864"/>
                  </a:lnTo>
                  <a:lnTo>
                    <a:pt x="1843" y="847"/>
                  </a:lnTo>
                  <a:lnTo>
                    <a:pt x="1887" y="794"/>
                  </a:lnTo>
                  <a:lnTo>
                    <a:pt x="1949" y="812"/>
                  </a:lnTo>
                  <a:lnTo>
                    <a:pt x="2029" y="856"/>
                  </a:lnTo>
                  <a:lnTo>
                    <a:pt x="2099" y="917"/>
                  </a:lnTo>
                  <a:lnTo>
                    <a:pt x="2161" y="926"/>
                  </a:lnTo>
                  <a:lnTo>
                    <a:pt x="2214" y="864"/>
                  </a:lnTo>
                  <a:lnTo>
                    <a:pt x="2258" y="794"/>
                  </a:lnTo>
                  <a:lnTo>
                    <a:pt x="2302" y="776"/>
                  </a:lnTo>
                  <a:lnTo>
                    <a:pt x="2355" y="829"/>
                  </a:lnTo>
                  <a:lnTo>
                    <a:pt x="2408" y="847"/>
                  </a:lnTo>
                  <a:lnTo>
                    <a:pt x="2479" y="856"/>
                  </a:lnTo>
                  <a:lnTo>
                    <a:pt x="2532" y="776"/>
                  </a:lnTo>
                  <a:lnTo>
                    <a:pt x="2576" y="714"/>
                  </a:lnTo>
                  <a:lnTo>
                    <a:pt x="2584" y="644"/>
                  </a:lnTo>
                  <a:lnTo>
                    <a:pt x="2611" y="573"/>
                  </a:lnTo>
                  <a:lnTo>
                    <a:pt x="2682" y="538"/>
                  </a:lnTo>
                  <a:lnTo>
                    <a:pt x="2743" y="520"/>
                  </a:lnTo>
                  <a:lnTo>
                    <a:pt x="2761" y="450"/>
                  </a:lnTo>
                  <a:lnTo>
                    <a:pt x="2796" y="406"/>
                  </a:lnTo>
                  <a:lnTo>
                    <a:pt x="2885" y="432"/>
                  </a:lnTo>
                  <a:lnTo>
                    <a:pt x="2964" y="450"/>
                  </a:lnTo>
                  <a:lnTo>
                    <a:pt x="3052" y="414"/>
                  </a:lnTo>
                  <a:lnTo>
                    <a:pt x="3079" y="335"/>
                  </a:lnTo>
                  <a:lnTo>
                    <a:pt x="3105" y="273"/>
                  </a:lnTo>
                  <a:lnTo>
                    <a:pt x="3149" y="238"/>
                  </a:lnTo>
                  <a:lnTo>
                    <a:pt x="3211" y="212"/>
                  </a:lnTo>
                  <a:lnTo>
                    <a:pt x="3238" y="150"/>
                  </a:lnTo>
                  <a:lnTo>
                    <a:pt x="3264" y="123"/>
                  </a:lnTo>
                  <a:lnTo>
                    <a:pt x="3352" y="97"/>
                  </a:lnTo>
                  <a:lnTo>
                    <a:pt x="3485" y="97"/>
                  </a:lnTo>
                  <a:lnTo>
                    <a:pt x="3555" y="70"/>
                  </a:lnTo>
                  <a:lnTo>
                    <a:pt x="3564" y="0"/>
                  </a:lnTo>
                  <a:lnTo>
                    <a:pt x="3617" y="44"/>
                  </a:lnTo>
                  <a:lnTo>
                    <a:pt x="3696" y="35"/>
                  </a:lnTo>
                  <a:lnTo>
                    <a:pt x="3758" y="17"/>
                  </a:lnTo>
                  <a:lnTo>
                    <a:pt x="3785" y="62"/>
                  </a:lnTo>
                  <a:lnTo>
                    <a:pt x="3793" y="106"/>
                  </a:lnTo>
                  <a:lnTo>
                    <a:pt x="3873" y="123"/>
                  </a:lnTo>
                  <a:lnTo>
                    <a:pt x="3917" y="150"/>
                  </a:lnTo>
                  <a:lnTo>
                    <a:pt x="3970" y="123"/>
                  </a:lnTo>
                  <a:lnTo>
                    <a:pt x="4032" y="185"/>
                  </a:lnTo>
                  <a:lnTo>
                    <a:pt x="4076" y="229"/>
                  </a:lnTo>
                  <a:lnTo>
                    <a:pt x="3996" y="273"/>
                  </a:lnTo>
                  <a:lnTo>
                    <a:pt x="4067" y="326"/>
                  </a:lnTo>
                  <a:lnTo>
                    <a:pt x="4102" y="353"/>
                  </a:lnTo>
                  <a:lnTo>
                    <a:pt x="4111" y="423"/>
                  </a:lnTo>
                  <a:lnTo>
                    <a:pt x="4217" y="450"/>
                  </a:lnTo>
                  <a:lnTo>
                    <a:pt x="4261" y="406"/>
                  </a:lnTo>
                  <a:lnTo>
                    <a:pt x="4367" y="459"/>
                  </a:lnTo>
                  <a:lnTo>
                    <a:pt x="4411" y="441"/>
                  </a:lnTo>
                  <a:lnTo>
                    <a:pt x="4447" y="467"/>
                  </a:lnTo>
                  <a:lnTo>
                    <a:pt x="4561" y="476"/>
                  </a:lnTo>
                  <a:lnTo>
                    <a:pt x="4614" y="547"/>
                  </a:lnTo>
                  <a:lnTo>
                    <a:pt x="4685" y="573"/>
                  </a:lnTo>
                  <a:lnTo>
                    <a:pt x="4755" y="582"/>
                  </a:lnTo>
                  <a:lnTo>
                    <a:pt x="4791" y="520"/>
                  </a:lnTo>
                  <a:lnTo>
                    <a:pt x="4852" y="520"/>
                  </a:lnTo>
                  <a:lnTo>
                    <a:pt x="4905" y="538"/>
                  </a:lnTo>
                  <a:lnTo>
                    <a:pt x="4870" y="582"/>
                  </a:lnTo>
                  <a:lnTo>
                    <a:pt x="4808" y="626"/>
                  </a:lnTo>
                  <a:lnTo>
                    <a:pt x="4791" y="697"/>
                  </a:lnTo>
                  <a:lnTo>
                    <a:pt x="4861" y="688"/>
                  </a:lnTo>
                  <a:lnTo>
                    <a:pt x="4870" y="767"/>
                  </a:lnTo>
                  <a:lnTo>
                    <a:pt x="4861" y="838"/>
                  </a:lnTo>
                  <a:lnTo>
                    <a:pt x="4817" y="856"/>
                  </a:lnTo>
                  <a:lnTo>
                    <a:pt x="4808" y="900"/>
                  </a:lnTo>
                  <a:lnTo>
                    <a:pt x="4852" y="953"/>
                  </a:lnTo>
                  <a:lnTo>
                    <a:pt x="4905" y="997"/>
                  </a:lnTo>
                  <a:lnTo>
                    <a:pt x="4870" y="1059"/>
                  </a:lnTo>
                  <a:lnTo>
                    <a:pt x="4808" y="1085"/>
                  </a:lnTo>
                  <a:lnTo>
                    <a:pt x="4835" y="1129"/>
                  </a:lnTo>
                  <a:lnTo>
                    <a:pt x="4914" y="1129"/>
                  </a:lnTo>
                  <a:lnTo>
                    <a:pt x="4923" y="1191"/>
                  </a:lnTo>
                  <a:lnTo>
                    <a:pt x="4985" y="1235"/>
                  </a:lnTo>
                  <a:lnTo>
                    <a:pt x="5038" y="1191"/>
                  </a:lnTo>
                  <a:lnTo>
                    <a:pt x="5064" y="1138"/>
                  </a:lnTo>
                  <a:lnTo>
                    <a:pt x="4994" y="1120"/>
                  </a:lnTo>
                  <a:lnTo>
                    <a:pt x="5038" y="1085"/>
                  </a:lnTo>
                  <a:lnTo>
                    <a:pt x="5117" y="1085"/>
                  </a:lnTo>
                  <a:lnTo>
                    <a:pt x="5170" y="1076"/>
                  </a:lnTo>
                  <a:lnTo>
                    <a:pt x="5250" y="1067"/>
                  </a:lnTo>
                  <a:lnTo>
                    <a:pt x="5214" y="1120"/>
                  </a:lnTo>
                  <a:lnTo>
                    <a:pt x="5214" y="1182"/>
                  </a:lnTo>
                  <a:lnTo>
                    <a:pt x="5276" y="1200"/>
                  </a:lnTo>
                  <a:lnTo>
                    <a:pt x="5329" y="1173"/>
                  </a:lnTo>
                  <a:lnTo>
                    <a:pt x="5355" y="1138"/>
                  </a:lnTo>
                  <a:lnTo>
                    <a:pt x="5426" y="1209"/>
                  </a:lnTo>
                  <a:lnTo>
                    <a:pt x="5435" y="1147"/>
                  </a:lnTo>
                  <a:lnTo>
                    <a:pt x="5479" y="1120"/>
                  </a:lnTo>
                  <a:lnTo>
                    <a:pt x="5532" y="1165"/>
                  </a:lnTo>
                  <a:lnTo>
                    <a:pt x="5558" y="1217"/>
                  </a:lnTo>
                  <a:lnTo>
                    <a:pt x="5523" y="1253"/>
                  </a:lnTo>
                  <a:lnTo>
                    <a:pt x="5567" y="1332"/>
                  </a:lnTo>
                  <a:lnTo>
                    <a:pt x="5638" y="1262"/>
                  </a:lnTo>
                  <a:lnTo>
                    <a:pt x="5700" y="1297"/>
                  </a:lnTo>
                  <a:lnTo>
                    <a:pt x="5761" y="1279"/>
                  </a:lnTo>
                  <a:lnTo>
                    <a:pt x="5779" y="1209"/>
                  </a:lnTo>
                  <a:lnTo>
                    <a:pt x="5779" y="1165"/>
                  </a:lnTo>
                  <a:lnTo>
                    <a:pt x="5814" y="1129"/>
                  </a:lnTo>
                  <a:lnTo>
                    <a:pt x="5858" y="1182"/>
                  </a:lnTo>
                  <a:lnTo>
                    <a:pt x="5823" y="1279"/>
                  </a:lnTo>
                  <a:lnTo>
                    <a:pt x="5814" y="1367"/>
                  </a:lnTo>
                  <a:lnTo>
                    <a:pt x="5841" y="1429"/>
                  </a:lnTo>
                  <a:lnTo>
                    <a:pt x="5814" y="1500"/>
                  </a:lnTo>
                  <a:lnTo>
                    <a:pt x="5788" y="1587"/>
                  </a:lnTo>
                  <a:lnTo>
                    <a:pt x="5797" y="1640"/>
                  </a:lnTo>
                  <a:lnTo>
                    <a:pt x="5250" y="4393"/>
                  </a:lnTo>
                  <a:lnTo>
                    <a:pt x="5197" y="4358"/>
                  </a:lnTo>
                  <a:lnTo>
                    <a:pt x="5170" y="4287"/>
                  </a:lnTo>
                  <a:lnTo>
                    <a:pt x="5117" y="4261"/>
                  </a:lnTo>
                  <a:lnTo>
                    <a:pt x="5100" y="4208"/>
                  </a:lnTo>
                  <a:lnTo>
                    <a:pt x="5100" y="4146"/>
                  </a:lnTo>
                  <a:lnTo>
                    <a:pt x="5064" y="4102"/>
                  </a:lnTo>
                  <a:lnTo>
                    <a:pt x="4985" y="4084"/>
                  </a:lnTo>
                  <a:lnTo>
                    <a:pt x="4941" y="4058"/>
                  </a:lnTo>
                  <a:lnTo>
                    <a:pt x="4888" y="4005"/>
                  </a:lnTo>
                  <a:lnTo>
                    <a:pt x="4861" y="3961"/>
                  </a:lnTo>
                  <a:lnTo>
                    <a:pt x="4782" y="3934"/>
                  </a:lnTo>
                  <a:lnTo>
                    <a:pt x="4729" y="3987"/>
                  </a:lnTo>
                  <a:lnTo>
                    <a:pt x="4676" y="4040"/>
                  </a:lnTo>
                  <a:lnTo>
                    <a:pt x="4579" y="4014"/>
                  </a:lnTo>
                  <a:lnTo>
                    <a:pt x="4508" y="4014"/>
                  </a:lnTo>
                  <a:lnTo>
                    <a:pt x="4411" y="4022"/>
                  </a:lnTo>
                  <a:lnTo>
                    <a:pt x="4341" y="4005"/>
                  </a:lnTo>
                  <a:lnTo>
                    <a:pt x="5108" y="2911"/>
                  </a:lnTo>
                  <a:lnTo>
                    <a:pt x="5082" y="2805"/>
                  </a:lnTo>
                  <a:lnTo>
                    <a:pt x="4994" y="2866"/>
                  </a:lnTo>
                  <a:lnTo>
                    <a:pt x="4994" y="2796"/>
                  </a:lnTo>
                  <a:lnTo>
                    <a:pt x="4932" y="2805"/>
                  </a:lnTo>
                  <a:lnTo>
                    <a:pt x="4923" y="2752"/>
                  </a:lnTo>
                  <a:lnTo>
                    <a:pt x="4905" y="2699"/>
                  </a:lnTo>
                  <a:lnTo>
                    <a:pt x="4817" y="2743"/>
                  </a:lnTo>
                  <a:lnTo>
                    <a:pt x="4764" y="2725"/>
                  </a:lnTo>
                  <a:lnTo>
                    <a:pt x="4817" y="2681"/>
                  </a:lnTo>
                  <a:lnTo>
                    <a:pt x="4764" y="2664"/>
                  </a:lnTo>
                  <a:lnTo>
                    <a:pt x="4702" y="2690"/>
                  </a:lnTo>
                  <a:lnTo>
                    <a:pt x="4658" y="2619"/>
                  </a:lnTo>
                  <a:lnTo>
                    <a:pt x="4614" y="2646"/>
                  </a:lnTo>
                  <a:lnTo>
                    <a:pt x="4552" y="2602"/>
                  </a:lnTo>
                  <a:lnTo>
                    <a:pt x="4535" y="2664"/>
                  </a:lnTo>
                  <a:lnTo>
                    <a:pt x="4464" y="2655"/>
                  </a:lnTo>
                  <a:lnTo>
                    <a:pt x="4455" y="2593"/>
                  </a:lnTo>
                  <a:lnTo>
                    <a:pt x="4429" y="2540"/>
                  </a:lnTo>
                  <a:lnTo>
                    <a:pt x="4349" y="2531"/>
                  </a:lnTo>
                  <a:lnTo>
                    <a:pt x="4296" y="2487"/>
                  </a:lnTo>
                  <a:lnTo>
                    <a:pt x="4235" y="2496"/>
                  </a:lnTo>
                  <a:lnTo>
                    <a:pt x="4226" y="2452"/>
                  </a:lnTo>
                  <a:lnTo>
                    <a:pt x="4164" y="2408"/>
                  </a:lnTo>
                  <a:lnTo>
                    <a:pt x="4102" y="2434"/>
                  </a:lnTo>
                  <a:lnTo>
                    <a:pt x="4032" y="2399"/>
                  </a:lnTo>
                  <a:lnTo>
                    <a:pt x="4041" y="2487"/>
                  </a:lnTo>
                  <a:lnTo>
                    <a:pt x="3952" y="2469"/>
                  </a:lnTo>
                  <a:lnTo>
                    <a:pt x="3882" y="2461"/>
                  </a:lnTo>
                  <a:lnTo>
                    <a:pt x="3873" y="2514"/>
                  </a:lnTo>
                  <a:lnTo>
                    <a:pt x="3846" y="2575"/>
                  </a:lnTo>
                  <a:lnTo>
                    <a:pt x="3776" y="2593"/>
                  </a:lnTo>
                  <a:lnTo>
                    <a:pt x="3732" y="2575"/>
                  </a:lnTo>
                  <a:lnTo>
                    <a:pt x="3652" y="2602"/>
                  </a:lnTo>
                  <a:lnTo>
                    <a:pt x="3599" y="2611"/>
                  </a:lnTo>
                  <a:lnTo>
                    <a:pt x="3538" y="2558"/>
                  </a:lnTo>
                  <a:lnTo>
                    <a:pt x="3502" y="2487"/>
                  </a:lnTo>
                  <a:lnTo>
                    <a:pt x="3467" y="2593"/>
                  </a:lnTo>
                  <a:lnTo>
                    <a:pt x="3440" y="2478"/>
                  </a:lnTo>
                  <a:lnTo>
                    <a:pt x="3352" y="2461"/>
                  </a:lnTo>
                  <a:lnTo>
                    <a:pt x="3308" y="2434"/>
                  </a:lnTo>
                  <a:lnTo>
                    <a:pt x="3202" y="2452"/>
                  </a:lnTo>
                  <a:lnTo>
                    <a:pt x="3193" y="2381"/>
                  </a:lnTo>
                  <a:lnTo>
                    <a:pt x="3132" y="2408"/>
                  </a:lnTo>
                  <a:lnTo>
                    <a:pt x="3070" y="2425"/>
                  </a:lnTo>
                  <a:lnTo>
                    <a:pt x="3043" y="2496"/>
                  </a:lnTo>
                  <a:lnTo>
                    <a:pt x="3035" y="2549"/>
                  </a:lnTo>
                  <a:lnTo>
                    <a:pt x="2982" y="2566"/>
                  </a:lnTo>
                  <a:lnTo>
                    <a:pt x="2973" y="2611"/>
                  </a:lnTo>
                  <a:lnTo>
                    <a:pt x="2902" y="2611"/>
                  </a:lnTo>
                  <a:lnTo>
                    <a:pt x="2814" y="2593"/>
                  </a:lnTo>
                  <a:lnTo>
                    <a:pt x="2752" y="2646"/>
                  </a:lnTo>
                  <a:lnTo>
                    <a:pt x="2690" y="2716"/>
                  </a:lnTo>
                  <a:lnTo>
                    <a:pt x="2637" y="2708"/>
                  </a:lnTo>
                  <a:lnTo>
                    <a:pt x="2567" y="2734"/>
                  </a:lnTo>
                  <a:lnTo>
                    <a:pt x="2496" y="2752"/>
                  </a:lnTo>
                  <a:lnTo>
                    <a:pt x="2434" y="2716"/>
                  </a:lnTo>
                  <a:lnTo>
                    <a:pt x="2346" y="2708"/>
                  </a:lnTo>
                  <a:lnTo>
                    <a:pt x="2267" y="2725"/>
                  </a:lnTo>
                  <a:lnTo>
                    <a:pt x="2205" y="2699"/>
                  </a:lnTo>
                  <a:lnTo>
                    <a:pt x="2152" y="2672"/>
                  </a:lnTo>
                  <a:lnTo>
                    <a:pt x="2117" y="2725"/>
                  </a:lnTo>
                  <a:lnTo>
                    <a:pt x="2073" y="2769"/>
                  </a:lnTo>
                  <a:lnTo>
                    <a:pt x="2037" y="2699"/>
                  </a:lnTo>
                  <a:lnTo>
                    <a:pt x="2011" y="2752"/>
                  </a:lnTo>
                  <a:lnTo>
                    <a:pt x="1896" y="2761"/>
                  </a:lnTo>
                  <a:lnTo>
                    <a:pt x="1799" y="2778"/>
                  </a:lnTo>
                  <a:lnTo>
                    <a:pt x="1764" y="2725"/>
                  </a:lnTo>
                  <a:lnTo>
                    <a:pt x="1764" y="2690"/>
                  </a:lnTo>
                  <a:lnTo>
                    <a:pt x="1711" y="2672"/>
                  </a:lnTo>
                  <a:lnTo>
                    <a:pt x="1631" y="2672"/>
                  </a:lnTo>
                  <a:lnTo>
                    <a:pt x="1552" y="2646"/>
                  </a:lnTo>
                  <a:lnTo>
                    <a:pt x="1526" y="2611"/>
                  </a:lnTo>
                  <a:lnTo>
                    <a:pt x="1491" y="2540"/>
                  </a:lnTo>
                  <a:lnTo>
                    <a:pt x="1543" y="2522"/>
                  </a:lnTo>
                  <a:lnTo>
                    <a:pt x="1570" y="2478"/>
                  </a:lnTo>
                  <a:lnTo>
                    <a:pt x="1623" y="2443"/>
                  </a:lnTo>
                  <a:lnTo>
                    <a:pt x="1578" y="2399"/>
                  </a:lnTo>
                  <a:lnTo>
                    <a:pt x="1614" y="2372"/>
                  </a:lnTo>
                  <a:lnTo>
                    <a:pt x="1561" y="2319"/>
                  </a:lnTo>
                  <a:lnTo>
                    <a:pt x="1570" y="2258"/>
                  </a:lnTo>
                  <a:lnTo>
                    <a:pt x="1570" y="2205"/>
                  </a:lnTo>
                  <a:lnTo>
                    <a:pt x="1517" y="2187"/>
                  </a:lnTo>
                  <a:lnTo>
                    <a:pt x="1517" y="2134"/>
                  </a:lnTo>
                  <a:lnTo>
                    <a:pt x="1456" y="2143"/>
                  </a:lnTo>
                  <a:lnTo>
                    <a:pt x="1447" y="2081"/>
                  </a:lnTo>
                  <a:lnTo>
                    <a:pt x="1421" y="2134"/>
                  </a:lnTo>
                  <a:lnTo>
                    <a:pt x="1368" y="2108"/>
                  </a:lnTo>
                  <a:lnTo>
                    <a:pt x="1324" y="2143"/>
                  </a:lnTo>
                  <a:lnTo>
                    <a:pt x="1244" y="2143"/>
                  </a:lnTo>
                  <a:lnTo>
                    <a:pt x="1191" y="2125"/>
                  </a:lnTo>
                  <a:lnTo>
                    <a:pt x="1147" y="2072"/>
                  </a:lnTo>
                  <a:lnTo>
                    <a:pt x="1094" y="2072"/>
                  </a:lnTo>
                  <a:lnTo>
                    <a:pt x="1050" y="2019"/>
                  </a:lnTo>
                  <a:lnTo>
                    <a:pt x="1068" y="1958"/>
                  </a:lnTo>
                  <a:lnTo>
                    <a:pt x="1138" y="1914"/>
                  </a:lnTo>
                  <a:lnTo>
                    <a:pt x="1076" y="1896"/>
                  </a:lnTo>
                  <a:lnTo>
                    <a:pt x="1121" y="1843"/>
                  </a:lnTo>
                  <a:lnTo>
                    <a:pt x="1059" y="1808"/>
                  </a:lnTo>
                  <a:lnTo>
                    <a:pt x="1015" y="1772"/>
                  </a:lnTo>
                  <a:lnTo>
                    <a:pt x="1032" y="1737"/>
                  </a:lnTo>
                  <a:lnTo>
                    <a:pt x="979" y="1702"/>
                  </a:lnTo>
                  <a:lnTo>
                    <a:pt x="971" y="1649"/>
                  </a:lnTo>
                  <a:lnTo>
                    <a:pt x="909" y="1605"/>
                  </a:lnTo>
                  <a:lnTo>
                    <a:pt x="873" y="1578"/>
                  </a:lnTo>
                  <a:lnTo>
                    <a:pt x="662" y="1562"/>
                  </a:lnTo>
                  <a:lnTo>
                    <a:pt x="618" y="1535"/>
                  </a:lnTo>
                  <a:lnTo>
                    <a:pt x="582" y="1473"/>
                  </a:lnTo>
                  <a:lnTo>
                    <a:pt x="556" y="1420"/>
                  </a:lnTo>
                  <a:lnTo>
                    <a:pt x="503" y="1456"/>
                  </a:lnTo>
                  <a:lnTo>
                    <a:pt x="450" y="1438"/>
                  </a:lnTo>
                  <a:lnTo>
                    <a:pt x="423" y="1385"/>
                  </a:lnTo>
                  <a:lnTo>
                    <a:pt x="326" y="1350"/>
                  </a:lnTo>
                  <a:lnTo>
                    <a:pt x="256" y="1332"/>
                  </a:lnTo>
                  <a:lnTo>
                    <a:pt x="194" y="1350"/>
                  </a:lnTo>
                  <a:lnTo>
                    <a:pt x="141" y="1306"/>
                  </a:lnTo>
                  <a:lnTo>
                    <a:pt x="150" y="1253"/>
                  </a:lnTo>
                  <a:lnTo>
                    <a:pt x="123" y="1209"/>
                  </a:lnTo>
                  <a:lnTo>
                    <a:pt x="159" y="1165"/>
                  </a:lnTo>
                  <a:lnTo>
                    <a:pt x="123" y="1112"/>
                  </a:lnTo>
                  <a:lnTo>
                    <a:pt x="79" y="1085"/>
                  </a:lnTo>
                  <a:lnTo>
                    <a:pt x="0" y="1041"/>
                  </a:lnTo>
                  <a:lnTo>
                    <a:pt x="62" y="997"/>
                  </a:lnTo>
                  <a:lnTo>
                    <a:pt x="53" y="944"/>
                  </a:lnTo>
                  <a:lnTo>
                    <a:pt x="0" y="856"/>
                  </a:lnTo>
                </a:path>
              </a:pathLst>
            </a:custGeom>
            <a:solidFill>
              <a:srgbClr val="007976"/>
            </a:solidFill>
            <a:ln w="3175" cap="sq">
              <a:solidFill>
                <a:schemeClr val="tx1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5" name="97 Grupo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61988" y="1196752"/>
            <a:ext cx="2430462" cy="1687513"/>
            <a:chOff x="1708150" y="1541463"/>
            <a:chExt cx="2429874" cy="1687269"/>
          </a:xfrm>
        </p:grpSpPr>
        <p:sp>
          <p:nvSpPr>
            <p:cNvPr id="99" name="Freeform 1"/>
            <p:cNvSpPr>
              <a:spLocks noChangeArrowheads="1"/>
            </p:cNvSpPr>
            <p:nvPr/>
          </p:nvSpPr>
          <p:spPr bwMode="auto">
            <a:xfrm>
              <a:off x="2430287" y="2501762"/>
              <a:ext cx="579298" cy="641257"/>
            </a:xfrm>
            <a:custGeom>
              <a:avLst/>
              <a:gdLst/>
              <a:ahLst/>
              <a:cxnLst>
                <a:cxn ang="0">
                  <a:pos x="918" y="106"/>
                </a:cxn>
                <a:cxn ang="0">
                  <a:pos x="1041" y="124"/>
                </a:cxn>
                <a:cxn ang="0">
                  <a:pos x="1200" y="194"/>
                </a:cxn>
                <a:cxn ang="0">
                  <a:pos x="1244" y="256"/>
                </a:cxn>
                <a:cxn ang="0">
                  <a:pos x="1376" y="318"/>
                </a:cxn>
                <a:cxn ang="0">
                  <a:pos x="1465" y="379"/>
                </a:cxn>
                <a:cxn ang="0">
                  <a:pos x="1500" y="529"/>
                </a:cxn>
                <a:cxn ang="0">
                  <a:pos x="1385" y="574"/>
                </a:cxn>
                <a:cxn ang="0">
                  <a:pos x="1279" y="644"/>
                </a:cxn>
                <a:cxn ang="0">
                  <a:pos x="1341" y="741"/>
                </a:cxn>
                <a:cxn ang="0">
                  <a:pos x="1376" y="874"/>
                </a:cxn>
                <a:cxn ang="0">
                  <a:pos x="1403" y="979"/>
                </a:cxn>
                <a:cxn ang="0">
                  <a:pos x="1526" y="1006"/>
                </a:cxn>
                <a:cxn ang="0">
                  <a:pos x="1588" y="1085"/>
                </a:cxn>
                <a:cxn ang="0">
                  <a:pos x="1756" y="953"/>
                </a:cxn>
                <a:cxn ang="0">
                  <a:pos x="1844" y="1006"/>
                </a:cxn>
                <a:cxn ang="0">
                  <a:pos x="1941" y="1068"/>
                </a:cxn>
                <a:cxn ang="0">
                  <a:pos x="2021" y="1129"/>
                </a:cxn>
                <a:cxn ang="0">
                  <a:pos x="2074" y="1200"/>
                </a:cxn>
                <a:cxn ang="0">
                  <a:pos x="1985" y="1288"/>
                </a:cxn>
                <a:cxn ang="0">
                  <a:pos x="1897" y="1385"/>
                </a:cxn>
                <a:cxn ang="0">
                  <a:pos x="1782" y="1429"/>
                </a:cxn>
                <a:cxn ang="0">
                  <a:pos x="1650" y="1465"/>
                </a:cxn>
                <a:cxn ang="0">
                  <a:pos x="1500" y="1465"/>
                </a:cxn>
                <a:cxn ang="0">
                  <a:pos x="1491" y="1571"/>
                </a:cxn>
                <a:cxn ang="0">
                  <a:pos x="1385" y="1631"/>
                </a:cxn>
                <a:cxn ang="0">
                  <a:pos x="1226" y="1737"/>
                </a:cxn>
                <a:cxn ang="0">
                  <a:pos x="1165" y="1852"/>
                </a:cxn>
                <a:cxn ang="0">
                  <a:pos x="1006" y="1834"/>
                </a:cxn>
                <a:cxn ang="0">
                  <a:pos x="926" y="2046"/>
                </a:cxn>
                <a:cxn ang="0">
                  <a:pos x="185" y="2276"/>
                </a:cxn>
                <a:cxn ang="0">
                  <a:pos x="44" y="2081"/>
                </a:cxn>
                <a:cxn ang="0">
                  <a:pos x="0" y="1870"/>
                </a:cxn>
                <a:cxn ang="0">
                  <a:pos x="53" y="1658"/>
                </a:cxn>
                <a:cxn ang="0">
                  <a:pos x="106" y="1482"/>
                </a:cxn>
                <a:cxn ang="0">
                  <a:pos x="194" y="1244"/>
                </a:cxn>
                <a:cxn ang="0">
                  <a:pos x="317" y="1147"/>
                </a:cxn>
                <a:cxn ang="0">
                  <a:pos x="344" y="979"/>
                </a:cxn>
                <a:cxn ang="0">
                  <a:pos x="273" y="891"/>
                </a:cxn>
                <a:cxn ang="0">
                  <a:pos x="141" y="785"/>
                </a:cxn>
                <a:cxn ang="0">
                  <a:pos x="70" y="626"/>
                </a:cxn>
                <a:cxn ang="0">
                  <a:pos x="132" y="529"/>
                </a:cxn>
                <a:cxn ang="0">
                  <a:pos x="229" y="432"/>
                </a:cxn>
                <a:cxn ang="0">
                  <a:pos x="335" y="344"/>
                </a:cxn>
                <a:cxn ang="0">
                  <a:pos x="397" y="212"/>
                </a:cxn>
                <a:cxn ang="0">
                  <a:pos x="450" y="115"/>
                </a:cxn>
                <a:cxn ang="0">
                  <a:pos x="582" y="44"/>
                </a:cxn>
                <a:cxn ang="0">
                  <a:pos x="741" y="0"/>
                </a:cxn>
                <a:cxn ang="0">
                  <a:pos x="900" y="26"/>
                </a:cxn>
              </a:cxnLst>
              <a:rect l="0" t="0" r="r" b="b"/>
              <a:pathLst>
                <a:path w="2075" h="2277">
                  <a:moveTo>
                    <a:pt x="900" y="26"/>
                  </a:moveTo>
                  <a:lnTo>
                    <a:pt x="918" y="106"/>
                  </a:lnTo>
                  <a:lnTo>
                    <a:pt x="979" y="124"/>
                  </a:lnTo>
                  <a:lnTo>
                    <a:pt x="1041" y="124"/>
                  </a:lnTo>
                  <a:lnTo>
                    <a:pt x="1112" y="185"/>
                  </a:lnTo>
                  <a:lnTo>
                    <a:pt x="1200" y="194"/>
                  </a:lnTo>
                  <a:lnTo>
                    <a:pt x="1191" y="238"/>
                  </a:lnTo>
                  <a:lnTo>
                    <a:pt x="1244" y="256"/>
                  </a:lnTo>
                  <a:lnTo>
                    <a:pt x="1297" y="291"/>
                  </a:lnTo>
                  <a:lnTo>
                    <a:pt x="1376" y="318"/>
                  </a:lnTo>
                  <a:lnTo>
                    <a:pt x="1394" y="371"/>
                  </a:lnTo>
                  <a:lnTo>
                    <a:pt x="1465" y="379"/>
                  </a:lnTo>
                  <a:lnTo>
                    <a:pt x="1491" y="441"/>
                  </a:lnTo>
                  <a:lnTo>
                    <a:pt x="1500" y="529"/>
                  </a:lnTo>
                  <a:lnTo>
                    <a:pt x="1465" y="565"/>
                  </a:lnTo>
                  <a:lnTo>
                    <a:pt x="1385" y="574"/>
                  </a:lnTo>
                  <a:lnTo>
                    <a:pt x="1306" y="600"/>
                  </a:lnTo>
                  <a:lnTo>
                    <a:pt x="1279" y="644"/>
                  </a:lnTo>
                  <a:lnTo>
                    <a:pt x="1350" y="679"/>
                  </a:lnTo>
                  <a:lnTo>
                    <a:pt x="1341" y="741"/>
                  </a:lnTo>
                  <a:lnTo>
                    <a:pt x="1359" y="812"/>
                  </a:lnTo>
                  <a:lnTo>
                    <a:pt x="1376" y="874"/>
                  </a:lnTo>
                  <a:lnTo>
                    <a:pt x="1385" y="935"/>
                  </a:lnTo>
                  <a:lnTo>
                    <a:pt x="1403" y="979"/>
                  </a:lnTo>
                  <a:lnTo>
                    <a:pt x="1482" y="979"/>
                  </a:lnTo>
                  <a:lnTo>
                    <a:pt x="1526" y="1006"/>
                  </a:lnTo>
                  <a:lnTo>
                    <a:pt x="1518" y="1068"/>
                  </a:lnTo>
                  <a:lnTo>
                    <a:pt x="1588" y="1085"/>
                  </a:lnTo>
                  <a:lnTo>
                    <a:pt x="1676" y="1050"/>
                  </a:lnTo>
                  <a:lnTo>
                    <a:pt x="1756" y="953"/>
                  </a:lnTo>
                  <a:lnTo>
                    <a:pt x="1765" y="1015"/>
                  </a:lnTo>
                  <a:lnTo>
                    <a:pt x="1844" y="1006"/>
                  </a:lnTo>
                  <a:lnTo>
                    <a:pt x="1906" y="1032"/>
                  </a:lnTo>
                  <a:lnTo>
                    <a:pt x="1941" y="1068"/>
                  </a:lnTo>
                  <a:lnTo>
                    <a:pt x="2012" y="1076"/>
                  </a:lnTo>
                  <a:lnTo>
                    <a:pt x="2021" y="1129"/>
                  </a:lnTo>
                  <a:lnTo>
                    <a:pt x="2029" y="1182"/>
                  </a:lnTo>
                  <a:lnTo>
                    <a:pt x="2074" y="1200"/>
                  </a:lnTo>
                  <a:lnTo>
                    <a:pt x="2056" y="1253"/>
                  </a:lnTo>
                  <a:lnTo>
                    <a:pt x="1985" y="1288"/>
                  </a:lnTo>
                  <a:lnTo>
                    <a:pt x="1932" y="1324"/>
                  </a:lnTo>
                  <a:lnTo>
                    <a:pt x="1897" y="1385"/>
                  </a:lnTo>
                  <a:lnTo>
                    <a:pt x="1862" y="1438"/>
                  </a:lnTo>
                  <a:lnTo>
                    <a:pt x="1782" y="1429"/>
                  </a:lnTo>
                  <a:lnTo>
                    <a:pt x="1721" y="1456"/>
                  </a:lnTo>
                  <a:lnTo>
                    <a:pt x="1650" y="1465"/>
                  </a:lnTo>
                  <a:lnTo>
                    <a:pt x="1571" y="1456"/>
                  </a:lnTo>
                  <a:lnTo>
                    <a:pt x="1500" y="1465"/>
                  </a:lnTo>
                  <a:lnTo>
                    <a:pt x="1491" y="1509"/>
                  </a:lnTo>
                  <a:lnTo>
                    <a:pt x="1491" y="1571"/>
                  </a:lnTo>
                  <a:lnTo>
                    <a:pt x="1412" y="1579"/>
                  </a:lnTo>
                  <a:lnTo>
                    <a:pt x="1385" y="1631"/>
                  </a:lnTo>
                  <a:lnTo>
                    <a:pt x="1323" y="1693"/>
                  </a:lnTo>
                  <a:lnTo>
                    <a:pt x="1226" y="1737"/>
                  </a:lnTo>
                  <a:lnTo>
                    <a:pt x="1218" y="1817"/>
                  </a:lnTo>
                  <a:lnTo>
                    <a:pt x="1165" y="1852"/>
                  </a:lnTo>
                  <a:lnTo>
                    <a:pt x="1094" y="1817"/>
                  </a:lnTo>
                  <a:lnTo>
                    <a:pt x="1006" y="1834"/>
                  </a:lnTo>
                  <a:lnTo>
                    <a:pt x="970" y="1949"/>
                  </a:lnTo>
                  <a:lnTo>
                    <a:pt x="926" y="2046"/>
                  </a:lnTo>
                  <a:lnTo>
                    <a:pt x="803" y="2249"/>
                  </a:lnTo>
                  <a:lnTo>
                    <a:pt x="185" y="2276"/>
                  </a:lnTo>
                  <a:lnTo>
                    <a:pt x="132" y="2187"/>
                  </a:lnTo>
                  <a:lnTo>
                    <a:pt x="44" y="2081"/>
                  </a:lnTo>
                  <a:lnTo>
                    <a:pt x="26" y="2002"/>
                  </a:lnTo>
                  <a:lnTo>
                    <a:pt x="0" y="1870"/>
                  </a:lnTo>
                  <a:lnTo>
                    <a:pt x="17" y="1764"/>
                  </a:lnTo>
                  <a:lnTo>
                    <a:pt x="53" y="1658"/>
                  </a:lnTo>
                  <a:lnTo>
                    <a:pt x="106" y="1571"/>
                  </a:lnTo>
                  <a:lnTo>
                    <a:pt x="106" y="1482"/>
                  </a:lnTo>
                  <a:lnTo>
                    <a:pt x="123" y="1376"/>
                  </a:lnTo>
                  <a:lnTo>
                    <a:pt x="194" y="1244"/>
                  </a:lnTo>
                  <a:lnTo>
                    <a:pt x="256" y="1191"/>
                  </a:lnTo>
                  <a:lnTo>
                    <a:pt x="317" y="1147"/>
                  </a:lnTo>
                  <a:lnTo>
                    <a:pt x="335" y="1076"/>
                  </a:lnTo>
                  <a:lnTo>
                    <a:pt x="344" y="979"/>
                  </a:lnTo>
                  <a:lnTo>
                    <a:pt x="335" y="926"/>
                  </a:lnTo>
                  <a:lnTo>
                    <a:pt x="273" y="891"/>
                  </a:lnTo>
                  <a:lnTo>
                    <a:pt x="194" y="847"/>
                  </a:lnTo>
                  <a:lnTo>
                    <a:pt x="141" y="785"/>
                  </a:lnTo>
                  <a:lnTo>
                    <a:pt x="114" y="706"/>
                  </a:lnTo>
                  <a:lnTo>
                    <a:pt x="70" y="626"/>
                  </a:lnTo>
                  <a:lnTo>
                    <a:pt x="123" y="591"/>
                  </a:lnTo>
                  <a:lnTo>
                    <a:pt x="132" y="529"/>
                  </a:lnTo>
                  <a:lnTo>
                    <a:pt x="203" y="494"/>
                  </a:lnTo>
                  <a:lnTo>
                    <a:pt x="229" y="432"/>
                  </a:lnTo>
                  <a:lnTo>
                    <a:pt x="264" y="397"/>
                  </a:lnTo>
                  <a:lnTo>
                    <a:pt x="335" y="344"/>
                  </a:lnTo>
                  <a:lnTo>
                    <a:pt x="326" y="265"/>
                  </a:lnTo>
                  <a:lnTo>
                    <a:pt x="397" y="212"/>
                  </a:lnTo>
                  <a:lnTo>
                    <a:pt x="441" y="176"/>
                  </a:lnTo>
                  <a:lnTo>
                    <a:pt x="450" y="115"/>
                  </a:lnTo>
                  <a:lnTo>
                    <a:pt x="520" y="71"/>
                  </a:lnTo>
                  <a:lnTo>
                    <a:pt x="582" y="44"/>
                  </a:lnTo>
                  <a:lnTo>
                    <a:pt x="644" y="26"/>
                  </a:lnTo>
                  <a:lnTo>
                    <a:pt x="741" y="0"/>
                  </a:lnTo>
                  <a:lnTo>
                    <a:pt x="829" y="9"/>
                  </a:lnTo>
                  <a:lnTo>
                    <a:pt x="900" y="26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0" name="Freeform 8"/>
            <p:cNvSpPr>
              <a:spLocks noChangeArrowheads="1"/>
            </p:cNvSpPr>
            <p:nvPr/>
          </p:nvSpPr>
          <p:spPr bwMode="auto">
            <a:xfrm>
              <a:off x="3330182" y="1541463"/>
              <a:ext cx="807842" cy="634908"/>
            </a:xfrm>
            <a:custGeom>
              <a:avLst/>
              <a:gdLst/>
              <a:ahLst/>
              <a:cxnLst>
                <a:cxn ang="0">
                  <a:pos x="1085" y="2188"/>
                </a:cxn>
                <a:cxn ang="0">
                  <a:pos x="1085" y="2091"/>
                </a:cxn>
                <a:cxn ang="0">
                  <a:pos x="1164" y="1994"/>
                </a:cxn>
                <a:cxn ang="0">
                  <a:pos x="1234" y="1844"/>
                </a:cxn>
                <a:cxn ang="0">
                  <a:pos x="1287" y="1712"/>
                </a:cxn>
                <a:cxn ang="0">
                  <a:pos x="1340" y="1597"/>
                </a:cxn>
                <a:cxn ang="0">
                  <a:pos x="1516" y="1465"/>
                </a:cxn>
                <a:cxn ang="0">
                  <a:pos x="1675" y="1394"/>
                </a:cxn>
                <a:cxn ang="0">
                  <a:pos x="1834" y="1138"/>
                </a:cxn>
                <a:cxn ang="0">
                  <a:pos x="1922" y="1006"/>
                </a:cxn>
                <a:cxn ang="0">
                  <a:pos x="1993" y="891"/>
                </a:cxn>
                <a:cxn ang="0">
                  <a:pos x="2249" y="838"/>
                </a:cxn>
                <a:cxn ang="0">
                  <a:pos x="2478" y="759"/>
                </a:cxn>
                <a:cxn ang="0">
                  <a:pos x="2664" y="671"/>
                </a:cxn>
                <a:cxn ang="0">
                  <a:pos x="2823" y="538"/>
                </a:cxn>
                <a:cxn ang="0">
                  <a:pos x="2893" y="406"/>
                </a:cxn>
                <a:cxn ang="0">
                  <a:pos x="2796" y="238"/>
                </a:cxn>
                <a:cxn ang="0">
                  <a:pos x="2611" y="115"/>
                </a:cxn>
                <a:cxn ang="0">
                  <a:pos x="2364" y="18"/>
                </a:cxn>
                <a:cxn ang="0">
                  <a:pos x="2187" y="9"/>
                </a:cxn>
                <a:cxn ang="0">
                  <a:pos x="2187" y="124"/>
                </a:cxn>
                <a:cxn ang="0">
                  <a:pos x="2055" y="168"/>
                </a:cxn>
                <a:cxn ang="0">
                  <a:pos x="2046" y="291"/>
                </a:cxn>
                <a:cxn ang="0">
                  <a:pos x="1914" y="362"/>
                </a:cxn>
                <a:cxn ang="0">
                  <a:pos x="1799" y="282"/>
                </a:cxn>
                <a:cxn ang="0">
                  <a:pos x="1728" y="450"/>
                </a:cxn>
                <a:cxn ang="0">
                  <a:pos x="1631" y="644"/>
                </a:cxn>
                <a:cxn ang="0">
                  <a:pos x="1472" y="724"/>
                </a:cxn>
                <a:cxn ang="0">
                  <a:pos x="1340" y="821"/>
                </a:cxn>
                <a:cxn ang="0">
                  <a:pos x="1172" y="812"/>
                </a:cxn>
                <a:cxn ang="0">
                  <a:pos x="1041" y="856"/>
                </a:cxn>
                <a:cxn ang="0">
                  <a:pos x="873" y="962"/>
                </a:cxn>
                <a:cxn ang="0">
                  <a:pos x="732" y="1068"/>
                </a:cxn>
                <a:cxn ang="0">
                  <a:pos x="661" y="1174"/>
                </a:cxn>
                <a:cxn ang="0">
                  <a:pos x="511" y="1253"/>
                </a:cxn>
                <a:cxn ang="0">
                  <a:pos x="353" y="1324"/>
                </a:cxn>
                <a:cxn ang="0">
                  <a:pos x="114" y="1332"/>
                </a:cxn>
                <a:cxn ang="0">
                  <a:pos x="17" y="1474"/>
                </a:cxn>
                <a:cxn ang="0">
                  <a:pos x="0" y="1668"/>
                </a:cxn>
                <a:cxn ang="0">
                  <a:pos x="70" y="1765"/>
                </a:cxn>
                <a:cxn ang="0">
                  <a:pos x="176" y="1800"/>
                </a:cxn>
                <a:cxn ang="0">
                  <a:pos x="414" y="1765"/>
                </a:cxn>
                <a:cxn ang="0">
                  <a:pos x="467" y="1844"/>
                </a:cxn>
                <a:cxn ang="0">
                  <a:pos x="556" y="1879"/>
                </a:cxn>
                <a:cxn ang="0">
                  <a:pos x="661" y="1959"/>
                </a:cxn>
                <a:cxn ang="0">
                  <a:pos x="688" y="2074"/>
                </a:cxn>
                <a:cxn ang="0">
                  <a:pos x="591" y="2188"/>
                </a:cxn>
                <a:cxn ang="0">
                  <a:pos x="661" y="2250"/>
                </a:cxn>
                <a:cxn ang="0">
                  <a:pos x="812" y="2215"/>
                </a:cxn>
                <a:cxn ang="0">
                  <a:pos x="953" y="2224"/>
                </a:cxn>
              </a:cxnLst>
              <a:rect l="0" t="0" r="r" b="b"/>
              <a:pathLst>
                <a:path w="2903" h="2251">
                  <a:moveTo>
                    <a:pt x="1032" y="2241"/>
                  </a:moveTo>
                  <a:lnTo>
                    <a:pt x="1085" y="2188"/>
                  </a:lnTo>
                  <a:lnTo>
                    <a:pt x="1085" y="2144"/>
                  </a:lnTo>
                  <a:lnTo>
                    <a:pt x="1085" y="2091"/>
                  </a:lnTo>
                  <a:lnTo>
                    <a:pt x="1129" y="2047"/>
                  </a:lnTo>
                  <a:lnTo>
                    <a:pt x="1164" y="1994"/>
                  </a:lnTo>
                  <a:lnTo>
                    <a:pt x="1190" y="1941"/>
                  </a:lnTo>
                  <a:lnTo>
                    <a:pt x="1234" y="1844"/>
                  </a:lnTo>
                  <a:lnTo>
                    <a:pt x="1261" y="1774"/>
                  </a:lnTo>
                  <a:lnTo>
                    <a:pt x="1287" y="1712"/>
                  </a:lnTo>
                  <a:lnTo>
                    <a:pt x="1340" y="1659"/>
                  </a:lnTo>
                  <a:lnTo>
                    <a:pt x="1340" y="1597"/>
                  </a:lnTo>
                  <a:lnTo>
                    <a:pt x="1428" y="1527"/>
                  </a:lnTo>
                  <a:lnTo>
                    <a:pt x="1516" y="1465"/>
                  </a:lnTo>
                  <a:lnTo>
                    <a:pt x="1622" y="1447"/>
                  </a:lnTo>
                  <a:lnTo>
                    <a:pt x="1675" y="1394"/>
                  </a:lnTo>
                  <a:lnTo>
                    <a:pt x="1728" y="1315"/>
                  </a:lnTo>
                  <a:lnTo>
                    <a:pt x="1834" y="1138"/>
                  </a:lnTo>
                  <a:lnTo>
                    <a:pt x="1869" y="1076"/>
                  </a:lnTo>
                  <a:lnTo>
                    <a:pt x="1922" y="1006"/>
                  </a:lnTo>
                  <a:lnTo>
                    <a:pt x="1940" y="953"/>
                  </a:lnTo>
                  <a:lnTo>
                    <a:pt x="1993" y="891"/>
                  </a:lnTo>
                  <a:lnTo>
                    <a:pt x="2090" y="865"/>
                  </a:lnTo>
                  <a:lnTo>
                    <a:pt x="2249" y="838"/>
                  </a:lnTo>
                  <a:lnTo>
                    <a:pt x="2337" y="794"/>
                  </a:lnTo>
                  <a:lnTo>
                    <a:pt x="2478" y="759"/>
                  </a:lnTo>
                  <a:lnTo>
                    <a:pt x="2567" y="732"/>
                  </a:lnTo>
                  <a:lnTo>
                    <a:pt x="2664" y="671"/>
                  </a:lnTo>
                  <a:lnTo>
                    <a:pt x="2708" y="591"/>
                  </a:lnTo>
                  <a:lnTo>
                    <a:pt x="2823" y="538"/>
                  </a:lnTo>
                  <a:lnTo>
                    <a:pt x="2902" y="476"/>
                  </a:lnTo>
                  <a:lnTo>
                    <a:pt x="2893" y="406"/>
                  </a:lnTo>
                  <a:lnTo>
                    <a:pt x="2840" y="309"/>
                  </a:lnTo>
                  <a:lnTo>
                    <a:pt x="2796" y="238"/>
                  </a:lnTo>
                  <a:lnTo>
                    <a:pt x="2717" y="168"/>
                  </a:lnTo>
                  <a:lnTo>
                    <a:pt x="2611" y="115"/>
                  </a:lnTo>
                  <a:lnTo>
                    <a:pt x="2478" y="71"/>
                  </a:lnTo>
                  <a:lnTo>
                    <a:pt x="2364" y="18"/>
                  </a:lnTo>
                  <a:lnTo>
                    <a:pt x="2284" y="0"/>
                  </a:lnTo>
                  <a:lnTo>
                    <a:pt x="2187" y="9"/>
                  </a:lnTo>
                  <a:lnTo>
                    <a:pt x="2134" y="62"/>
                  </a:lnTo>
                  <a:lnTo>
                    <a:pt x="2187" y="124"/>
                  </a:lnTo>
                  <a:lnTo>
                    <a:pt x="2161" y="185"/>
                  </a:lnTo>
                  <a:lnTo>
                    <a:pt x="2055" y="168"/>
                  </a:lnTo>
                  <a:lnTo>
                    <a:pt x="1993" y="212"/>
                  </a:lnTo>
                  <a:lnTo>
                    <a:pt x="2046" y="291"/>
                  </a:lnTo>
                  <a:lnTo>
                    <a:pt x="2020" y="353"/>
                  </a:lnTo>
                  <a:lnTo>
                    <a:pt x="1914" y="362"/>
                  </a:lnTo>
                  <a:lnTo>
                    <a:pt x="1869" y="291"/>
                  </a:lnTo>
                  <a:lnTo>
                    <a:pt x="1799" y="282"/>
                  </a:lnTo>
                  <a:lnTo>
                    <a:pt x="1737" y="309"/>
                  </a:lnTo>
                  <a:lnTo>
                    <a:pt x="1728" y="450"/>
                  </a:lnTo>
                  <a:lnTo>
                    <a:pt x="1667" y="574"/>
                  </a:lnTo>
                  <a:lnTo>
                    <a:pt x="1631" y="644"/>
                  </a:lnTo>
                  <a:lnTo>
                    <a:pt x="1534" y="688"/>
                  </a:lnTo>
                  <a:lnTo>
                    <a:pt x="1472" y="724"/>
                  </a:lnTo>
                  <a:lnTo>
                    <a:pt x="1437" y="776"/>
                  </a:lnTo>
                  <a:lnTo>
                    <a:pt x="1340" y="821"/>
                  </a:lnTo>
                  <a:lnTo>
                    <a:pt x="1243" y="803"/>
                  </a:lnTo>
                  <a:lnTo>
                    <a:pt x="1172" y="812"/>
                  </a:lnTo>
                  <a:lnTo>
                    <a:pt x="1120" y="847"/>
                  </a:lnTo>
                  <a:lnTo>
                    <a:pt x="1041" y="856"/>
                  </a:lnTo>
                  <a:lnTo>
                    <a:pt x="953" y="909"/>
                  </a:lnTo>
                  <a:lnTo>
                    <a:pt x="873" y="962"/>
                  </a:lnTo>
                  <a:lnTo>
                    <a:pt x="820" y="1041"/>
                  </a:lnTo>
                  <a:lnTo>
                    <a:pt x="732" y="1068"/>
                  </a:lnTo>
                  <a:lnTo>
                    <a:pt x="661" y="1112"/>
                  </a:lnTo>
                  <a:lnTo>
                    <a:pt x="661" y="1174"/>
                  </a:lnTo>
                  <a:lnTo>
                    <a:pt x="564" y="1191"/>
                  </a:lnTo>
                  <a:lnTo>
                    <a:pt x="511" y="1253"/>
                  </a:lnTo>
                  <a:lnTo>
                    <a:pt x="441" y="1306"/>
                  </a:lnTo>
                  <a:lnTo>
                    <a:pt x="353" y="1324"/>
                  </a:lnTo>
                  <a:lnTo>
                    <a:pt x="211" y="1324"/>
                  </a:lnTo>
                  <a:lnTo>
                    <a:pt x="114" y="1332"/>
                  </a:lnTo>
                  <a:lnTo>
                    <a:pt x="97" y="1394"/>
                  </a:lnTo>
                  <a:lnTo>
                    <a:pt x="17" y="1474"/>
                  </a:lnTo>
                  <a:lnTo>
                    <a:pt x="8" y="1571"/>
                  </a:lnTo>
                  <a:lnTo>
                    <a:pt x="0" y="1668"/>
                  </a:lnTo>
                  <a:lnTo>
                    <a:pt x="26" y="1729"/>
                  </a:lnTo>
                  <a:lnTo>
                    <a:pt x="70" y="1765"/>
                  </a:lnTo>
                  <a:lnTo>
                    <a:pt x="61" y="1809"/>
                  </a:lnTo>
                  <a:lnTo>
                    <a:pt x="176" y="1800"/>
                  </a:lnTo>
                  <a:lnTo>
                    <a:pt x="300" y="1765"/>
                  </a:lnTo>
                  <a:lnTo>
                    <a:pt x="414" y="1765"/>
                  </a:lnTo>
                  <a:lnTo>
                    <a:pt x="476" y="1774"/>
                  </a:lnTo>
                  <a:lnTo>
                    <a:pt x="467" y="1844"/>
                  </a:lnTo>
                  <a:lnTo>
                    <a:pt x="450" y="1915"/>
                  </a:lnTo>
                  <a:lnTo>
                    <a:pt x="556" y="1879"/>
                  </a:lnTo>
                  <a:lnTo>
                    <a:pt x="600" y="1941"/>
                  </a:lnTo>
                  <a:lnTo>
                    <a:pt x="661" y="1959"/>
                  </a:lnTo>
                  <a:lnTo>
                    <a:pt x="706" y="2012"/>
                  </a:lnTo>
                  <a:lnTo>
                    <a:pt x="688" y="2074"/>
                  </a:lnTo>
                  <a:lnTo>
                    <a:pt x="644" y="2118"/>
                  </a:lnTo>
                  <a:lnTo>
                    <a:pt x="591" y="2188"/>
                  </a:lnTo>
                  <a:lnTo>
                    <a:pt x="653" y="2206"/>
                  </a:lnTo>
                  <a:lnTo>
                    <a:pt x="661" y="2250"/>
                  </a:lnTo>
                  <a:lnTo>
                    <a:pt x="732" y="2215"/>
                  </a:lnTo>
                  <a:lnTo>
                    <a:pt x="812" y="2215"/>
                  </a:lnTo>
                  <a:lnTo>
                    <a:pt x="864" y="2232"/>
                  </a:lnTo>
                  <a:lnTo>
                    <a:pt x="953" y="2224"/>
                  </a:lnTo>
                  <a:lnTo>
                    <a:pt x="1032" y="2241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1" name="Freeform 9"/>
            <p:cNvSpPr>
              <a:spLocks noChangeArrowheads="1"/>
            </p:cNvSpPr>
            <p:nvPr/>
          </p:nvSpPr>
          <p:spPr bwMode="auto">
            <a:xfrm>
              <a:off x="2919119" y="1906535"/>
              <a:ext cx="447567" cy="711097"/>
            </a:xfrm>
            <a:custGeom>
              <a:avLst/>
              <a:gdLst/>
              <a:ahLst/>
              <a:cxnLst>
                <a:cxn ang="0">
                  <a:pos x="1535" y="556"/>
                </a:cxn>
                <a:cxn ang="0">
                  <a:pos x="1553" y="680"/>
                </a:cxn>
                <a:cxn ang="0">
                  <a:pos x="1580" y="821"/>
                </a:cxn>
                <a:cxn ang="0">
                  <a:pos x="1491" y="909"/>
                </a:cxn>
                <a:cxn ang="0">
                  <a:pos x="1341" y="962"/>
                </a:cxn>
                <a:cxn ang="0">
                  <a:pos x="1165" y="1041"/>
                </a:cxn>
                <a:cxn ang="0">
                  <a:pos x="1085" y="1156"/>
                </a:cxn>
                <a:cxn ang="0">
                  <a:pos x="1041" y="1324"/>
                </a:cxn>
                <a:cxn ang="0">
                  <a:pos x="1138" y="1482"/>
                </a:cxn>
                <a:cxn ang="0">
                  <a:pos x="1324" y="1632"/>
                </a:cxn>
                <a:cxn ang="0">
                  <a:pos x="1403" y="1791"/>
                </a:cxn>
                <a:cxn ang="0">
                  <a:pos x="1306" y="1844"/>
                </a:cxn>
                <a:cxn ang="0">
                  <a:pos x="1103" y="1844"/>
                </a:cxn>
                <a:cxn ang="0">
                  <a:pos x="1041" y="1932"/>
                </a:cxn>
                <a:cxn ang="0">
                  <a:pos x="1041" y="1994"/>
                </a:cxn>
                <a:cxn ang="0">
                  <a:pos x="1174" y="2083"/>
                </a:cxn>
                <a:cxn ang="0">
                  <a:pos x="1209" y="2215"/>
                </a:cxn>
                <a:cxn ang="0">
                  <a:pos x="1262" y="2277"/>
                </a:cxn>
                <a:cxn ang="0">
                  <a:pos x="1315" y="2330"/>
                </a:cxn>
                <a:cxn ang="0">
                  <a:pos x="1394" y="2391"/>
                </a:cxn>
                <a:cxn ang="0">
                  <a:pos x="1341" y="2515"/>
                </a:cxn>
                <a:cxn ang="0">
                  <a:pos x="1174" y="2497"/>
                </a:cxn>
                <a:cxn ang="0">
                  <a:pos x="1068" y="2506"/>
                </a:cxn>
                <a:cxn ang="0">
                  <a:pos x="971" y="2427"/>
                </a:cxn>
                <a:cxn ang="0">
                  <a:pos x="821" y="2347"/>
                </a:cxn>
                <a:cxn ang="0">
                  <a:pos x="732" y="2250"/>
                </a:cxn>
                <a:cxn ang="0">
                  <a:pos x="635" y="2180"/>
                </a:cxn>
                <a:cxn ang="0">
                  <a:pos x="485" y="2206"/>
                </a:cxn>
                <a:cxn ang="0">
                  <a:pos x="362" y="2083"/>
                </a:cxn>
                <a:cxn ang="0">
                  <a:pos x="212" y="2056"/>
                </a:cxn>
                <a:cxn ang="0">
                  <a:pos x="221" y="1915"/>
                </a:cxn>
                <a:cxn ang="0">
                  <a:pos x="194" y="1818"/>
                </a:cxn>
                <a:cxn ang="0">
                  <a:pos x="238" y="1685"/>
                </a:cxn>
                <a:cxn ang="0">
                  <a:pos x="141" y="1632"/>
                </a:cxn>
                <a:cxn ang="0">
                  <a:pos x="115" y="1518"/>
                </a:cxn>
                <a:cxn ang="0">
                  <a:pos x="185" y="1438"/>
                </a:cxn>
                <a:cxn ang="0">
                  <a:pos x="70" y="1332"/>
                </a:cxn>
                <a:cxn ang="0">
                  <a:pos x="53" y="1244"/>
                </a:cxn>
                <a:cxn ang="0">
                  <a:pos x="79" y="1130"/>
                </a:cxn>
                <a:cxn ang="0">
                  <a:pos x="123" y="1024"/>
                </a:cxn>
                <a:cxn ang="0">
                  <a:pos x="159" y="900"/>
                </a:cxn>
                <a:cxn ang="0">
                  <a:pos x="229" y="785"/>
                </a:cxn>
                <a:cxn ang="0">
                  <a:pos x="212" y="662"/>
                </a:cxn>
                <a:cxn ang="0">
                  <a:pos x="221" y="538"/>
                </a:cxn>
                <a:cxn ang="0">
                  <a:pos x="273" y="397"/>
                </a:cxn>
                <a:cxn ang="0">
                  <a:pos x="423" y="371"/>
                </a:cxn>
                <a:cxn ang="0">
                  <a:pos x="626" y="397"/>
                </a:cxn>
                <a:cxn ang="0">
                  <a:pos x="856" y="344"/>
                </a:cxn>
                <a:cxn ang="0">
                  <a:pos x="838" y="141"/>
                </a:cxn>
                <a:cxn ang="0">
                  <a:pos x="909" y="62"/>
                </a:cxn>
                <a:cxn ang="0">
                  <a:pos x="997" y="0"/>
                </a:cxn>
                <a:cxn ang="0">
                  <a:pos x="1129" y="27"/>
                </a:cxn>
                <a:cxn ang="0">
                  <a:pos x="1332" y="62"/>
                </a:cxn>
                <a:cxn ang="0">
                  <a:pos x="1518" y="53"/>
                </a:cxn>
                <a:cxn ang="0">
                  <a:pos x="1571" y="97"/>
                </a:cxn>
                <a:cxn ang="0">
                  <a:pos x="1482" y="274"/>
                </a:cxn>
                <a:cxn ang="0">
                  <a:pos x="1500" y="432"/>
                </a:cxn>
                <a:cxn ang="0">
                  <a:pos x="1535" y="512"/>
                </a:cxn>
              </a:cxnLst>
              <a:rect l="0" t="0" r="r" b="b"/>
              <a:pathLst>
                <a:path w="1607" h="2516">
                  <a:moveTo>
                    <a:pt x="1491" y="556"/>
                  </a:moveTo>
                  <a:lnTo>
                    <a:pt x="1535" y="556"/>
                  </a:lnTo>
                  <a:lnTo>
                    <a:pt x="1606" y="600"/>
                  </a:lnTo>
                  <a:lnTo>
                    <a:pt x="1553" y="680"/>
                  </a:lnTo>
                  <a:lnTo>
                    <a:pt x="1571" y="741"/>
                  </a:lnTo>
                  <a:lnTo>
                    <a:pt x="1580" y="821"/>
                  </a:lnTo>
                  <a:lnTo>
                    <a:pt x="1509" y="847"/>
                  </a:lnTo>
                  <a:lnTo>
                    <a:pt x="1491" y="909"/>
                  </a:lnTo>
                  <a:lnTo>
                    <a:pt x="1421" y="927"/>
                  </a:lnTo>
                  <a:lnTo>
                    <a:pt x="1341" y="962"/>
                  </a:lnTo>
                  <a:lnTo>
                    <a:pt x="1244" y="971"/>
                  </a:lnTo>
                  <a:lnTo>
                    <a:pt x="1165" y="1041"/>
                  </a:lnTo>
                  <a:lnTo>
                    <a:pt x="1138" y="1112"/>
                  </a:lnTo>
                  <a:lnTo>
                    <a:pt x="1085" y="1156"/>
                  </a:lnTo>
                  <a:lnTo>
                    <a:pt x="1041" y="1218"/>
                  </a:lnTo>
                  <a:lnTo>
                    <a:pt x="1041" y="1324"/>
                  </a:lnTo>
                  <a:lnTo>
                    <a:pt x="1059" y="1403"/>
                  </a:lnTo>
                  <a:lnTo>
                    <a:pt x="1138" y="1482"/>
                  </a:lnTo>
                  <a:lnTo>
                    <a:pt x="1235" y="1553"/>
                  </a:lnTo>
                  <a:lnTo>
                    <a:pt x="1324" y="1632"/>
                  </a:lnTo>
                  <a:lnTo>
                    <a:pt x="1377" y="1721"/>
                  </a:lnTo>
                  <a:lnTo>
                    <a:pt x="1403" y="1791"/>
                  </a:lnTo>
                  <a:lnTo>
                    <a:pt x="1403" y="1853"/>
                  </a:lnTo>
                  <a:lnTo>
                    <a:pt x="1306" y="1844"/>
                  </a:lnTo>
                  <a:lnTo>
                    <a:pt x="1235" y="1853"/>
                  </a:lnTo>
                  <a:lnTo>
                    <a:pt x="1103" y="1844"/>
                  </a:lnTo>
                  <a:lnTo>
                    <a:pt x="1050" y="1862"/>
                  </a:lnTo>
                  <a:lnTo>
                    <a:pt x="1041" y="1932"/>
                  </a:lnTo>
                  <a:lnTo>
                    <a:pt x="971" y="1959"/>
                  </a:lnTo>
                  <a:lnTo>
                    <a:pt x="1041" y="1994"/>
                  </a:lnTo>
                  <a:lnTo>
                    <a:pt x="1121" y="2021"/>
                  </a:lnTo>
                  <a:lnTo>
                    <a:pt x="1174" y="2083"/>
                  </a:lnTo>
                  <a:lnTo>
                    <a:pt x="1218" y="2153"/>
                  </a:lnTo>
                  <a:lnTo>
                    <a:pt x="1209" y="2215"/>
                  </a:lnTo>
                  <a:lnTo>
                    <a:pt x="1200" y="2277"/>
                  </a:lnTo>
                  <a:lnTo>
                    <a:pt x="1262" y="2277"/>
                  </a:lnTo>
                  <a:lnTo>
                    <a:pt x="1306" y="2277"/>
                  </a:lnTo>
                  <a:lnTo>
                    <a:pt x="1315" y="2330"/>
                  </a:lnTo>
                  <a:lnTo>
                    <a:pt x="1341" y="2391"/>
                  </a:lnTo>
                  <a:lnTo>
                    <a:pt x="1394" y="2391"/>
                  </a:lnTo>
                  <a:lnTo>
                    <a:pt x="1377" y="2453"/>
                  </a:lnTo>
                  <a:lnTo>
                    <a:pt x="1341" y="2515"/>
                  </a:lnTo>
                  <a:lnTo>
                    <a:pt x="1253" y="2506"/>
                  </a:lnTo>
                  <a:lnTo>
                    <a:pt x="1174" y="2497"/>
                  </a:lnTo>
                  <a:lnTo>
                    <a:pt x="1129" y="2462"/>
                  </a:lnTo>
                  <a:lnTo>
                    <a:pt x="1068" y="2506"/>
                  </a:lnTo>
                  <a:lnTo>
                    <a:pt x="1006" y="2497"/>
                  </a:lnTo>
                  <a:lnTo>
                    <a:pt x="971" y="2427"/>
                  </a:lnTo>
                  <a:lnTo>
                    <a:pt x="900" y="2409"/>
                  </a:lnTo>
                  <a:lnTo>
                    <a:pt x="821" y="2347"/>
                  </a:lnTo>
                  <a:lnTo>
                    <a:pt x="794" y="2277"/>
                  </a:lnTo>
                  <a:lnTo>
                    <a:pt x="732" y="2250"/>
                  </a:lnTo>
                  <a:lnTo>
                    <a:pt x="671" y="2277"/>
                  </a:lnTo>
                  <a:lnTo>
                    <a:pt x="635" y="2180"/>
                  </a:lnTo>
                  <a:lnTo>
                    <a:pt x="582" y="2241"/>
                  </a:lnTo>
                  <a:lnTo>
                    <a:pt x="485" y="2206"/>
                  </a:lnTo>
                  <a:lnTo>
                    <a:pt x="432" y="2144"/>
                  </a:lnTo>
                  <a:lnTo>
                    <a:pt x="362" y="2083"/>
                  </a:lnTo>
                  <a:lnTo>
                    <a:pt x="291" y="2038"/>
                  </a:lnTo>
                  <a:lnTo>
                    <a:pt x="212" y="2056"/>
                  </a:lnTo>
                  <a:lnTo>
                    <a:pt x="203" y="1985"/>
                  </a:lnTo>
                  <a:lnTo>
                    <a:pt x="221" y="1915"/>
                  </a:lnTo>
                  <a:lnTo>
                    <a:pt x="229" y="1871"/>
                  </a:lnTo>
                  <a:lnTo>
                    <a:pt x="194" y="1818"/>
                  </a:lnTo>
                  <a:lnTo>
                    <a:pt x="159" y="1738"/>
                  </a:lnTo>
                  <a:lnTo>
                    <a:pt x="238" y="1685"/>
                  </a:lnTo>
                  <a:lnTo>
                    <a:pt x="194" y="1668"/>
                  </a:lnTo>
                  <a:lnTo>
                    <a:pt x="141" y="1632"/>
                  </a:lnTo>
                  <a:lnTo>
                    <a:pt x="123" y="1597"/>
                  </a:lnTo>
                  <a:lnTo>
                    <a:pt x="115" y="1518"/>
                  </a:lnTo>
                  <a:lnTo>
                    <a:pt x="176" y="1482"/>
                  </a:lnTo>
                  <a:lnTo>
                    <a:pt x="185" y="1438"/>
                  </a:lnTo>
                  <a:lnTo>
                    <a:pt x="123" y="1359"/>
                  </a:lnTo>
                  <a:lnTo>
                    <a:pt x="70" y="1332"/>
                  </a:lnTo>
                  <a:lnTo>
                    <a:pt x="0" y="1297"/>
                  </a:lnTo>
                  <a:lnTo>
                    <a:pt x="53" y="1244"/>
                  </a:lnTo>
                  <a:lnTo>
                    <a:pt x="35" y="1165"/>
                  </a:lnTo>
                  <a:lnTo>
                    <a:pt x="79" y="1130"/>
                  </a:lnTo>
                  <a:lnTo>
                    <a:pt x="106" y="1068"/>
                  </a:lnTo>
                  <a:lnTo>
                    <a:pt x="123" y="1024"/>
                  </a:lnTo>
                  <a:lnTo>
                    <a:pt x="150" y="953"/>
                  </a:lnTo>
                  <a:lnTo>
                    <a:pt x="159" y="900"/>
                  </a:lnTo>
                  <a:lnTo>
                    <a:pt x="203" y="838"/>
                  </a:lnTo>
                  <a:lnTo>
                    <a:pt x="229" y="785"/>
                  </a:lnTo>
                  <a:lnTo>
                    <a:pt x="229" y="715"/>
                  </a:lnTo>
                  <a:lnTo>
                    <a:pt x="212" y="662"/>
                  </a:lnTo>
                  <a:lnTo>
                    <a:pt x="247" y="600"/>
                  </a:lnTo>
                  <a:lnTo>
                    <a:pt x="221" y="538"/>
                  </a:lnTo>
                  <a:lnTo>
                    <a:pt x="221" y="432"/>
                  </a:lnTo>
                  <a:lnTo>
                    <a:pt x="273" y="397"/>
                  </a:lnTo>
                  <a:lnTo>
                    <a:pt x="318" y="344"/>
                  </a:lnTo>
                  <a:lnTo>
                    <a:pt x="423" y="371"/>
                  </a:lnTo>
                  <a:lnTo>
                    <a:pt x="512" y="380"/>
                  </a:lnTo>
                  <a:lnTo>
                    <a:pt x="626" y="397"/>
                  </a:lnTo>
                  <a:lnTo>
                    <a:pt x="768" y="380"/>
                  </a:lnTo>
                  <a:lnTo>
                    <a:pt x="856" y="344"/>
                  </a:lnTo>
                  <a:lnTo>
                    <a:pt x="838" y="230"/>
                  </a:lnTo>
                  <a:lnTo>
                    <a:pt x="838" y="141"/>
                  </a:lnTo>
                  <a:lnTo>
                    <a:pt x="865" y="80"/>
                  </a:lnTo>
                  <a:lnTo>
                    <a:pt x="909" y="62"/>
                  </a:lnTo>
                  <a:lnTo>
                    <a:pt x="926" y="0"/>
                  </a:lnTo>
                  <a:lnTo>
                    <a:pt x="997" y="0"/>
                  </a:lnTo>
                  <a:lnTo>
                    <a:pt x="1059" y="9"/>
                  </a:lnTo>
                  <a:lnTo>
                    <a:pt x="1129" y="27"/>
                  </a:lnTo>
                  <a:lnTo>
                    <a:pt x="1244" y="53"/>
                  </a:lnTo>
                  <a:lnTo>
                    <a:pt x="1332" y="62"/>
                  </a:lnTo>
                  <a:lnTo>
                    <a:pt x="1412" y="71"/>
                  </a:lnTo>
                  <a:lnTo>
                    <a:pt x="1518" y="53"/>
                  </a:lnTo>
                  <a:lnTo>
                    <a:pt x="1588" y="35"/>
                  </a:lnTo>
                  <a:lnTo>
                    <a:pt x="1571" y="97"/>
                  </a:lnTo>
                  <a:lnTo>
                    <a:pt x="1491" y="177"/>
                  </a:lnTo>
                  <a:lnTo>
                    <a:pt x="1482" y="274"/>
                  </a:lnTo>
                  <a:lnTo>
                    <a:pt x="1474" y="371"/>
                  </a:lnTo>
                  <a:lnTo>
                    <a:pt x="1500" y="432"/>
                  </a:lnTo>
                  <a:lnTo>
                    <a:pt x="1544" y="468"/>
                  </a:lnTo>
                  <a:lnTo>
                    <a:pt x="1535" y="512"/>
                  </a:lnTo>
                  <a:lnTo>
                    <a:pt x="1491" y="556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2" name="Freeform 10"/>
            <p:cNvSpPr>
              <a:spLocks noChangeArrowheads="1"/>
            </p:cNvSpPr>
            <p:nvPr/>
          </p:nvSpPr>
          <p:spPr bwMode="auto">
            <a:xfrm>
              <a:off x="3188929" y="2038279"/>
              <a:ext cx="428521" cy="974584"/>
            </a:xfrm>
            <a:custGeom>
              <a:avLst/>
              <a:gdLst/>
              <a:ahLst/>
              <a:cxnLst>
                <a:cxn ang="0">
                  <a:pos x="423" y="1923"/>
                </a:cxn>
                <a:cxn ang="0">
                  <a:pos x="335" y="1809"/>
                </a:cxn>
                <a:cxn ang="0">
                  <a:pos x="238" y="1747"/>
                </a:cxn>
                <a:cxn ang="0">
                  <a:pos x="150" y="1553"/>
                </a:cxn>
                <a:cxn ang="0">
                  <a:pos x="70" y="1464"/>
                </a:cxn>
                <a:cxn ang="0">
                  <a:pos x="264" y="1385"/>
                </a:cxn>
                <a:cxn ang="0">
                  <a:pos x="432" y="1323"/>
                </a:cxn>
                <a:cxn ang="0">
                  <a:pos x="264" y="1085"/>
                </a:cxn>
                <a:cxn ang="0">
                  <a:pos x="70" y="856"/>
                </a:cxn>
                <a:cxn ang="0">
                  <a:pos x="167" y="644"/>
                </a:cxn>
                <a:cxn ang="0">
                  <a:pos x="370" y="494"/>
                </a:cxn>
                <a:cxn ang="0">
                  <a:pos x="538" y="379"/>
                </a:cxn>
                <a:cxn ang="0">
                  <a:pos x="582" y="212"/>
                </a:cxn>
                <a:cxn ang="0">
                  <a:pos x="520" y="88"/>
                </a:cxn>
                <a:cxn ang="0">
                  <a:pos x="803" y="0"/>
                </a:cxn>
                <a:cxn ang="0">
                  <a:pos x="970" y="79"/>
                </a:cxn>
                <a:cxn ang="0">
                  <a:pos x="1103" y="176"/>
                </a:cxn>
                <a:cxn ang="0">
                  <a:pos x="1191" y="309"/>
                </a:cxn>
                <a:cxn ang="0">
                  <a:pos x="1156" y="441"/>
                </a:cxn>
                <a:cxn ang="0">
                  <a:pos x="1315" y="450"/>
                </a:cxn>
                <a:cxn ang="0">
                  <a:pos x="1535" y="476"/>
                </a:cxn>
                <a:cxn ang="0">
                  <a:pos x="1420" y="653"/>
                </a:cxn>
                <a:cxn ang="0">
                  <a:pos x="1376" y="935"/>
                </a:cxn>
                <a:cxn ang="0">
                  <a:pos x="1385" y="1138"/>
                </a:cxn>
                <a:cxn ang="0">
                  <a:pos x="1253" y="1376"/>
                </a:cxn>
                <a:cxn ang="0">
                  <a:pos x="1059" y="1606"/>
                </a:cxn>
                <a:cxn ang="0">
                  <a:pos x="979" y="1809"/>
                </a:cxn>
                <a:cxn ang="0">
                  <a:pos x="891" y="1888"/>
                </a:cxn>
                <a:cxn ang="0">
                  <a:pos x="882" y="2109"/>
                </a:cxn>
                <a:cxn ang="0">
                  <a:pos x="856" y="2267"/>
                </a:cxn>
                <a:cxn ang="0">
                  <a:pos x="785" y="2409"/>
                </a:cxn>
                <a:cxn ang="0">
                  <a:pos x="820" y="2567"/>
                </a:cxn>
                <a:cxn ang="0">
                  <a:pos x="900" y="2726"/>
                </a:cxn>
                <a:cxn ang="0">
                  <a:pos x="1014" y="2629"/>
                </a:cxn>
                <a:cxn ang="0">
                  <a:pos x="944" y="2903"/>
                </a:cxn>
                <a:cxn ang="0">
                  <a:pos x="1067" y="3106"/>
                </a:cxn>
                <a:cxn ang="0">
                  <a:pos x="1023" y="3272"/>
                </a:cxn>
                <a:cxn ang="0">
                  <a:pos x="900" y="3431"/>
                </a:cxn>
                <a:cxn ang="0">
                  <a:pos x="714" y="3387"/>
                </a:cxn>
                <a:cxn ang="0">
                  <a:pos x="529" y="3334"/>
                </a:cxn>
                <a:cxn ang="0">
                  <a:pos x="617" y="3167"/>
                </a:cxn>
                <a:cxn ang="0">
                  <a:pos x="503" y="2938"/>
                </a:cxn>
                <a:cxn ang="0">
                  <a:pos x="503" y="2576"/>
                </a:cxn>
                <a:cxn ang="0">
                  <a:pos x="450" y="2338"/>
                </a:cxn>
                <a:cxn ang="0">
                  <a:pos x="344" y="2126"/>
                </a:cxn>
              </a:cxnLst>
              <a:rect l="0" t="0" r="r" b="b"/>
              <a:pathLst>
                <a:path w="1536" h="3459">
                  <a:moveTo>
                    <a:pt x="370" y="2047"/>
                  </a:moveTo>
                  <a:lnTo>
                    <a:pt x="406" y="1985"/>
                  </a:lnTo>
                  <a:lnTo>
                    <a:pt x="423" y="1923"/>
                  </a:lnTo>
                  <a:lnTo>
                    <a:pt x="370" y="1923"/>
                  </a:lnTo>
                  <a:lnTo>
                    <a:pt x="344" y="1862"/>
                  </a:lnTo>
                  <a:lnTo>
                    <a:pt x="335" y="1809"/>
                  </a:lnTo>
                  <a:lnTo>
                    <a:pt x="291" y="1809"/>
                  </a:lnTo>
                  <a:lnTo>
                    <a:pt x="229" y="1809"/>
                  </a:lnTo>
                  <a:lnTo>
                    <a:pt x="238" y="1747"/>
                  </a:lnTo>
                  <a:lnTo>
                    <a:pt x="247" y="1685"/>
                  </a:lnTo>
                  <a:lnTo>
                    <a:pt x="203" y="1615"/>
                  </a:lnTo>
                  <a:lnTo>
                    <a:pt x="150" y="1553"/>
                  </a:lnTo>
                  <a:lnTo>
                    <a:pt x="70" y="1526"/>
                  </a:lnTo>
                  <a:lnTo>
                    <a:pt x="0" y="1491"/>
                  </a:lnTo>
                  <a:lnTo>
                    <a:pt x="70" y="1464"/>
                  </a:lnTo>
                  <a:lnTo>
                    <a:pt x="79" y="1394"/>
                  </a:lnTo>
                  <a:lnTo>
                    <a:pt x="132" y="1376"/>
                  </a:lnTo>
                  <a:lnTo>
                    <a:pt x="264" y="1385"/>
                  </a:lnTo>
                  <a:lnTo>
                    <a:pt x="335" y="1376"/>
                  </a:lnTo>
                  <a:lnTo>
                    <a:pt x="432" y="1385"/>
                  </a:lnTo>
                  <a:lnTo>
                    <a:pt x="432" y="1323"/>
                  </a:lnTo>
                  <a:lnTo>
                    <a:pt x="406" y="1253"/>
                  </a:lnTo>
                  <a:lnTo>
                    <a:pt x="353" y="1164"/>
                  </a:lnTo>
                  <a:lnTo>
                    <a:pt x="264" y="1085"/>
                  </a:lnTo>
                  <a:lnTo>
                    <a:pt x="167" y="1014"/>
                  </a:lnTo>
                  <a:lnTo>
                    <a:pt x="88" y="935"/>
                  </a:lnTo>
                  <a:lnTo>
                    <a:pt x="70" y="856"/>
                  </a:lnTo>
                  <a:lnTo>
                    <a:pt x="70" y="750"/>
                  </a:lnTo>
                  <a:lnTo>
                    <a:pt x="114" y="688"/>
                  </a:lnTo>
                  <a:lnTo>
                    <a:pt x="167" y="644"/>
                  </a:lnTo>
                  <a:lnTo>
                    <a:pt x="194" y="573"/>
                  </a:lnTo>
                  <a:lnTo>
                    <a:pt x="273" y="503"/>
                  </a:lnTo>
                  <a:lnTo>
                    <a:pt x="370" y="494"/>
                  </a:lnTo>
                  <a:lnTo>
                    <a:pt x="450" y="459"/>
                  </a:lnTo>
                  <a:lnTo>
                    <a:pt x="520" y="441"/>
                  </a:lnTo>
                  <a:lnTo>
                    <a:pt x="538" y="379"/>
                  </a:lnTo>
                  <a:lnTo>
                    <a:pt x="609" y="353"/>
                  </a:lnTo>
                  <a:lnTo>
                    <a:pt x="600" y="273"/>
                  </a:lnTo>
                  <a:lnTo>
                    <a:pt x="582" y="212"/>
                  </a:lnTo>
                  <a:lnTo>
                    <a:pt x="635" y="132"/>
                  </a:lnTo>
                  <a:lnTo>
                    <a:pt x="564" y="88"/>
                  </a:lnTo>
                  <a:lnTo>
                    <a:pt x="520" y="88"/>
                  </a:lnTo>
                  <a:lnTo>
                    <a:pt x="564" y="44"/>
                  </a:lnTo>
                  <a:lnTo>
                    <a:pt x="679" y="35"/>
                  </a:lnTo>
                  <a:lnTo>
                    <a:pt x="803" y="0"/>
                  </a:lnTo>
                  <a:lnTo>
                    <a:pt x="917" y="0"/>
                  </a:lnTo>
                  <a:lnTo>
                    <a:pt x="979" y="9"/>
                  </a:lnTo>
                  <a:lnTo>
                    <a:pt x="970" y="79"/>
                  </a:lnTo>
                  <a:lnTo>
                    <a:pt x="953" y="150"/>
                  </a:lnTo>
                  <a:lnTo>
                    <a:pt x="1059" y="114"/>
                  </a:lnTo>
                  <a:lnTo>
                    <a:pt x="1103" y="176"/>
                  </a:lnTo>
                  <a:lnTo>
                    <a:pt x="1164" y="194"/>
                  </a:lnTo>
                  <a:lnTo>
                    <a:pt x="1209" y="247"/>
                  </a:lnTo>
                  <a:lnTo>
                    <a:pt x="1191" y="309"/>
                  </a:lnTo>
                  <a:lnTo>
                    <a:pt x="1147" y="353"/>
                  </a:lnTo>
                  <a:lnTo>
                    <a:pt x="1094" y="423"/>
                  </a:lnTo>
                  <a:lnTo>
                    <a:pt x="1156" y="441"/>
                  </a:lnTo>
                  <a:lnTo>
                    <a:pt x="1164" y="485"/>
                  </a:lnTo>
                  <a:lnTo>
                    <a:pt x="1235" y="450"/>
                  </a:lnTo>
                  <a:lnTo>
                    <a:pt x="1315" y="450"/>
                  </a:lnTo>
                  <a:lnTo>
                    <a:pt x="1367" y="467"/>
                  </a:lnTo>
                  <a:lnTo>
                    <a:pt x="1456" y="459"/>
                  </a:lnTo>
                  <a:lnTo>
                    <a:pt x="1535" y="476"/>
                  </a:lnTo>
                  <a:lnTo>
                    <a:pt x="1517" y="529"/>
                  </a:lnTo>
                  <a:lnTo>
                    <a:pt x="1456" y="582"/>
                  </a:lnTo>
                  <a:lnTo>
                    <a:pt x="1420" y="653"/>
                  </a:lnTo>
                  <a:lnTo>
                    <a:pt x="1429" y="732"/>
                  </a:lnTo>
                  <a:lnTo>
                    <a:pt x="1420" y="820"/>
                  </a:lnTo>
                  <a:lnTo>
                    <a:pt x="1376" y="935"/>
                  </a:lnTo>
                  <a:lnTo>
                    <a:pt x="1359" y="1014"/>
                  </a:lnTo>
                  <a:lnTo>
                    <a:pt x="1438" y="1067"/>
                  </a:lnTo>
                  <a:lnTo>
                    <a:pt x="1385" y="1138"/>
                  </a:lnTo>
                  <a:lnTo>
                    <a:pt x="1350" y="1191"/>
                  </a:lnTo>
                  <a:lnTo>
                    <a:pt x="1323" y="1279"/>
                  </a:lnTo>
                  <a:lnTo>
                    <a:pt x="1253" y="1376"/>
                  </a:lnTo>
                  <a:lnTo>
                    <a:pt x="1164" y="1420"/>
                  </a:lnTo>
                  <a:lnTo>
                    <a:pt x="1103" y="1500"/>
                  </a:lnTo>
                  <a:lnTo>
                    <a:pt x="1059" y="1606"/>
                  </a:lnTo>
                  <a:lnTo>
                    <a:pt x="1023" y="1694"/>
                  </a:lnTo>
                  <a:lnTo>
                    <a:pt x="1023" y="1747"/>
                  </a:lnTo>
                  <a:lnTo>
                    <a:pt x="979" y="1809"/>
                  </a:lnTo>
                  <a:lnTo>
                    <a:pt x="926" y="1826"/>
                  </a:lnTo>
                  <a:lnTo>
                    <a:pt x="882" y="1826"/>
                  </a:lnTo>
                  <a:lnTo>
                    <a:pt x="891" y="1888"/>
                  </a:lnTo>
                  <a:lnTo>
                    <a:pt x="891" y="1976"/>
                  </a:lnTo>
                  <a:lnTo>
                    <a:pt x="873" y="2029"/>
                  </a:lnTo>
                  <a:lnTo>
                    <a:pt x="882" y="2109"/>
                  </a:lnTo>
                  <a:lnTo>
                    <a:pt x="891" y="2170"/>
                  </a:lnTo>
                  <a:lnTo>
                    <a:pt x="900" y="2241"/>
                  </a:lnTo>
                  <a:lnTo>
                    <a:pt x="856" y="2267"/>
                  </a:lnTo>
                  <a:lnTo>
                    <a:pt x="856" y="2312"/>
                  </a:lnTo>
                  <a:lnTo>
                    <a:pt x="820" y="2356"/>
                  </a:lnTo>
                  <a:lnTo>
                    <a:pt x="785" y="2409"/>
                  </a:lnTo>
                  <a:lnTo>
                    <a:pt x="767" y="2479"/>
                  </a:lnTo>
                  <a:lnTo>
                    <a:pt x="785" y="2523"/>
                  </a:lnTo>
                  <a:lnTo>
                    <a:pt x="820" y="2567"/>
                  </a:lnTo>
                  <a:lnTo>
                    <a:pt x="847" y="2620"/>
                  </a:lnTo>
                  <a:lnTo>
                    <a:pt x="838" y="2700"/>
                  </a:lnTo>
                  <a:lnTo>
                    <a:pt x="900" y="2726"/>
                  </a:lnTo>
                  <a:lnTo>
                    <a:pt x="917" y="2656"/>
                  </a:lnTo>
                  <a:lnTo>
                    <a:pt x="953" y="2585"/>
                  </a:lnTo>
                  <a:lnTo>
                    <a:pt x="1014" y="2629"/>
                  </a:lnTo>
                  <a:lnTo>
                    <a:pt x="997" y="2735"/>
                  </a:lnTo>
                  <a:lnTo>
                    <a:pt x="953" y="2815"/>
                  </a:lnTo>
                  <a:lnTo>
                    <a:pt x="944" y="2903"/>
                  </a:lnTo>
                  <a:lnTo>
                    <a:pt x="944" y="2973"/>
                  </a:lnTo>
                  <a:lnTo>
                    <a:pt x="988" y="3035"/>
                  </a:lnTo>
                  <a:lnTo>
                    <a:pt x="1067" y="3106"/>
                  </a:lnTo>
                  <a:lnTo>
                    <a:pt x="1067" y="3176"/>
                  </a:lnTo>
                  <a:lnTo>
                    <a:pt x="1014" y="3194"/>
                  </a:lnTo>
                  <a:lnTo>
                    <a:pt x="1023" y="3272"/>
                  </a:lnTo>
                  <a:lnTo>
                    <a:pt x="1006" y="3325"/>
                  </a:lnTo>
                  <a:lnTo>
                    <a:pt x="935" y="3387"/>
                  </a:lnTo>
                  <a:lnTo>
                    <a:pt x="900" y="3431"/>
                  </a:lnTo>
                  <a:lnTo>
                    <a:pt x="847" y="3458"/>
                  </a:lnTo>
                  <a:lnTo>
                    <a:pt x="776" y="3414"/>
                  </a:lnTo>
                  <a:lnTo>
                    <a:pt x="714" y="3387"/>
                  </a:lnTo>
                  <a:lnTo>
                    <a:pt x="661" y="3387"/>
                  </a:lnTo>
                  <a:lnTo>
                    <a:pt x="564" y="3387"/>
                  </a:lnTo>
                  <a:lnTo>
                    <a:pt x="529" y="3334"/>
                  </a:lnTo>
                  <a:lnTo>
                    <a:pt x="538" y="3264"/>
                  </a:lnTo>
                  <a:lnTo>
                    <a:pt x="609" y="3229"/>
                  </a:lnTo>
                  <a:lnTo>
                    <a:pt x="617" y="3167"/>
                  </a:lnTo>
                  <a:lnTo>
                    <a:pt x="556" y="3097"/>
                  </a:lnTo>
                  <a:lnTo>
                    <a:pt x="511" y="3000"/>
                  </a:lnTo>
                  <a:lnTo>
                    <a:pt x="503" y="2938"/>
                  </a:lnTo>
                  <a:lnTo>
                    <a:pt x="503" y="2841"/>
                  </a:lnTo>
                  <a:lnTo>
                    <a:pt x="520" y="2726"/>
                  </a:lnTo>
                  <a:lnTo>
                    <a:pt x="503" y="2576"/>
                  </a:lnTo>
                  <a:lnTo>
                    <a:pt x="459" y="2479"/>
                  </a:lnTo>
                  <a:lnTo>
                    <a:pt x="441" y="2400"/>
                  </a:lnTo>
                  <a:lnTo>
                    <a:pt x="450" y="2338"/>
                  </a:lnTo>
                  <a:lnTo>
                    <a:pt x="459" y="2250"/>
                  </a:lnTo>
                  <a:lnTo>
                    <a:pt x="432" y="2197"/>
                  </a:lnTo>
                  <a:lnTo>
                    <a:pt x="344" y="2126"/>
                  </a:lnTo>
                  <a:lnTo>
                    <a:pt x="370" y="2047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3" name="Freeform 12"/>
            <p:cNvSpPr>
              <a:spLocks noChangeArrowheads="1"/>
            </p:cNvSpPr>
            <p:nvPr/>
          </p:nvSpPr>
          <p:spPr bwMode="auto">
            <a:xfrm>
              <a:off x="2730253" y="2101770"/>
              <a:ext cx="606278" cy="1126962"/>
            </a:xfrm>
            <a:custGeom>
              <a:avLst/>
              <a:gdLst/>
              <a:ahLst/>
              <a:cxnLst>
                <a:cxn ang="0">
                  <a:pos x="62" y="142"/>
                </a:cxn>
                <a:cxn ang="0">
                  <a:pos x="0" y="362"/>
                </a:cxn>
                <a:cxn ang="0">
                  <a:pos x="27" y="530"/>
                </a:cxn>
                <a:cxn ang="0">
                  <a:pos x="159" y="706"/>
                </a:cxn>
                <a:cxn ang="0">
                  <a:pos x="80" y="874"/>
                </a:cxn>
                <a:cxn ang="0">
                  <a:pos x="239" y="953"/>
                </a:cxn>
                <a:cxn ang="0">
                  <a:pos x="203" y="1165"/>
                </a:cxn>
                <a:cxn ang="0">
                  <a:pos x="397" y="1130"/>
                </a:cxn>
                <a:cxn ang="0">
                  <a:pos x="574" y="1236"/>
                </a:cxn>
                <a:cxn ang="0">
                  <a:pos x="768" y="1377"/>
                </a:cxn>
                <a:cxn ang="0">
                  <a:pos x="795" y="1624"/>
                </a:cxn>
                <a:cxn ang="0">
                  <a:pos x="962" y="1800"/>
                </a:cxn>
                <a:cxn ang="0">
                  <a:pos x="1148" y="1950"/>
                </a:cxn>
                <a:cxn ang="0">
                  <a:pos x="1121" y="2092"/>
                </a:cxn>
                <a:cxn ang="0">
                  <a:pos x="1183" y="2321"/>
                </a:cxn>
                <a:cxn ang="0">
                  <a:pos x="1165" y="2497"/>
                </a:cxn>
                <a:cxn ang="0">
                  <a:pos x="1051" y="2595"/>
                </a:cxn>
                <a:cxn ang="0">
                  <a:pos x="909" y="2709"/>
                </a:cxn>
                <a:cxn ang="0">
                  <a:pos x="1192" y="2903"/>
                </a:cxn>
                <a:cxn ang="0">
                  <a:pos x="1262" y="3132"/>
                </a:cxn>
                <a:cxn ang="0">
                  <a:pos x="1324" y="3282"/>
                </a:cxn>
                <a:cxn ang="0">
                  <a:pos x="1218" y="3423"/>
                </a:cxn>
                <a:cxn ang="0">
                  <a:pos x="1271" y="3591"/>
                </a:cxn>
                <a:cxn ang="0">
                  <a:pos x="1412" y="3529"/>
                </a:cxn>
                <a:cxn ang="0">
                  <a:pos x="1492" y="3591"/>
                </a:cxn>
                <a:cxn ang="0">
                  <a:pos x="1439" y="3767"/>
                </a:cxn>
                <a:cxn ang="0">
                  <a:pos x="1492" y="3970"/>
                </a:cxn>
                <a:cxn ang="0">
                  <a:pos x="1933" y="3741"/>
                </a:cxn>
                <a:cxn ang="0">
                  <a:pos x="2030" y="3441"/>
                </a:cxn>
                <a:cxn ang="0">
                  <a:pos x="2127" y="3229"/>
                </a:cxn>
                <a:cxn ang="0">
                  <a:pos x="2083" y="2983"/>
                </a:cxn>
                <a:cxn ang="0">
                  <a:pos x="2092" y="2762"/>
                </a:cxn>
                <a:cxn ang="0">
                  <a:pos x="2171" y="2506"/>
                </a:cxn>
                <a:cxn ang="0">
                  <a:pos x="2092" y="2180"/>
                </a:cxn>
                <a:cxn ang="0">
                  <a:pos x="2083" y="1977"/>
                </a:cxn>
                <a:cxn ang="0">
                  <a:pos x="1933" y="1818"/>
                </a:cxn>
                <a:cxn ang="0">
                  <a:pos x="1748" y="1818"/>
                </a:cxn>
                <a:cxn ang="0">
                  <a:pos x="1580" y="1721"/>
                </a:cxn>
                <a:cxn ang="0">
                  <a:pos x="1412" y="1562"/>
                </a:cxn>
                <a:cxn ang="0">
                  <a:pos x="1262" y="1553"/>
                </a:cxn>
                <a:cxn ang="0">
                  <a:pos x="1042" y="1395"/>
                </a:cxn>
                <a:cxn ang="0">
                  <a:pos x="883" y="1297"/>
                </a:cxn>
                <a:cxn ang="0">
                  <a:pos x="874" y="1130"/>
                </a:cxn>
                <a:cxn ang="0">
                  <a:pos x="874" y="980"/>
                </a:cxn>
                <a:cxn ang="0">
                  <a:pos x="795" y="830"/>
                </a:cxn>
                <a:cxn ang="0">
                  <a:pos x="803" y="671"/>
                </a:cxn>
                <a:cxn ang="0">
                  <a:pos x="733" y="556"/>
                </a:cxn>
                <a:cxn ang="0">
                  <a:pos x="618" y="371"/>
                </a:cxn>
                <a:cxn ang="0">
                  <a:pos x="459" y="309"/>
                </a:cxn>
                <a:cxn ang="0">
                  <a:pos x="336" y="221"/>
                </a:cxn>
                <a:cxn ang="0">
                  <a:pos x="292" y="62"/>
                </a:cxn>
              </a:cxnLst>
              <a:rect l="0" t="0" r="r" b="b"/>
              <a:pathLst>
                <a:path w="2172" h="3998">
                  <a:moveTo>
                    <a:pt x="195" y="27"/>
                  </a:moveTo>
                  <a:lnTo>
                    <a:pt x="115" y="80"/>
                  </a:lnTo>
                  <a:lnTo>
                    <a:pt x="62" y="142"/>
                  </a:lnTo>
                  <a:lnTo>
                    <a:pt x="9" y="212"/>
                  </a:lnTo>
                  <a:lnTo>
                    <a:pt x="0" y="309"/>
                  </a:lnTo>
                  <a:lnTo>
                    <a:pt x="0" y="362"/>
                  </a:lnTo>
                  <a:lnTo>
                    <a:pt x="27" y="406"/>
                  </a:lnTo>
                  <a:lnTo>
                    <a:pt x="9" y="450"/>
                  </a:lnTo>
                  <a:lnTo>
                    <a:pt x="27" y="530"/>
                  </a:lnTo>
                  <a:lnTo>
                    <a:pt x="44" y="600"/>
                  </a:lnTo>
                  <a:lnTo>
                    <a:pt x="97" y="662"/>
                  </a:lnTo>
                  <a:lnTo>
                    <a:pt x="159" y="706"/>
                  </a:lnTo>
                  <a:lnTo>
                    <a:pt x="80" y="742"/>
                  </a:lnTo>
                  <a:lnTo>
                    <a:pt x="80" y="812"/>
                  </a:lnTo>
                  <a:lnTo>
                    <a:pt x="80" y="874"/>
                  </a:lnTo>
                  <a:lnTo>
                    <a:pt x="142" y="900"/>
                  </a:lnTo>
                  <a:lnTo>
                    <a:pt x="247" y="918"/>
                  </a:lnTo>
                  <a:lnTo>
                    <a:pt x="239" y="953"/>
                  </a:lnTo>
                  <a:lnTo>
                    <a:pt x="239" y="1024"/>
                  </a:lnTo>
                  <a:lnTo>
                    <a:pt x="186" y="1094"/>
                  </a:lnTo>
                  <a:lnTo>
                    <a:pt x="203" y="1165"/>
                  </a:lnTo>
                  <a:lnTo>
                    <a:pt x="265" y="1121"/>
                  </a:lnTo>
                  <a:lnTo>
                    <a:pt x="345" y="1112"/>
                  </a:lnTo>
                  <a:lnTo>
                    <a:pt x="397" y="1130"/>
                  </a:lnTo>
                  <a:lnTo>
                    <a:pt x="477" y="1183"/>
                  </a:lnTo>
                  <a:lnTo>
                    <a:pt x="512" y="1227"/>
                  </a:lnTo>
                  <a:lnTo>
                    <a:pt x="574" y="1236"/>
                  </a:lnTo>
                  <a:lnTo>
                    <a:pt x="627" y="1244"/>
                  </a:lnTo>
                  <a:lnTo>
                    <a:pt x="689" y="1315"/>
                  </a:lnTo>
                  <a:lnTo>
                    <a:pt x="768" y="1377"/>
                  </a:lnTo>
                  <a:lnTo>
                    <a:pt x="759" y="1474"/>
                  </a:lnTo>
                  <a:lnTo>
                    <a:pt x="742" y="1553"/>
                  </a:lnTo>
                  <a:lnTo>
                    <a:pt x="795" y="1624"/>
                  </a:lnTo>
                  <a:lnTo>
                    <a:pt x="848" y="1695"/>
                  </a:lnTo>
                  <a:lnTo>
                    <a:pt x="892" y="1765"/>
                  </a:lnTo>
                  <a:lnTo>
                    <a:pt x="962" y="1800"/>
                  </a:lnTo>
                  <a:lnTo>
                    <a:pt x="1024" y="1818"/>
                  </a:lnTo>
                  <a:lnTo>
                    <a:pt x="1086" y="1862"/>
                  </a:lnTo>
                  <a:lnTo>
                    <a:pt x="1148" y="1950"/>
                  </a:lnTo>
                  <a:lnTo>
                    <a:pt x="1183" y="2003"/>
                  </a:lnTo>
                  <a:lnTo>
                    <a:pt x="1183" y="2074"/>
                  </a:lnTo>
                  <a:lnTo>
                    <a:pt x="1121" y="2092"/>
                  </a:lnTo>
                  <a:lnTo>
                    <a:pt x="1139" y="2171"/>
                  </a:lnTo>
                  <a:lnTo>
                    <a:pt x="1156" y="2242"/>
                  </a:lnTo>
                  <a:lnTo>
                    <a:pt x="1183" y="2321"/>
                  </a:lnTo>
                  <a:lnTo>
                    <a:pt x="1209" y="2365"/>
                  </a:lnTo>
                  <a:lnTo>
                    <a:pt x="1253" y="2418"/>
                  </a:lnTo>
                  <a:lnTo>
                    <a:pt x="1165" y="2497"/>
                  </a:lnTo>
                  <a:lnTo>
                    <a:pt x="1139" y="2568"/>
                  </a:lnTo>
                  <a:lnTo>
                    <a:pt x="1095" y="2630"/>
                  </a:lnTo>
                  <a:lnTo>
                    <a:pt x="1051" y="2595"/>
                  </a:lnTo>
                  <a:lnTo>
                    <a:pt x="998" y="2621"/>
                  </a:lnTo>
                  <a:lnTo>
                    <a:pt x="980" y="2674"/>
                  </a:lnTo>
                  <a:lnTo>
                    <a:pt x="909" y="2709"/>
                  </a:lnTo>
                  <a:lnTo>
                    <a:pt x="1024" y="2797"/>
                  </a:lnTo>
                  <a:lnTo>
                    <a:pt x="1112" y="2842"/>
                  </a:lnTo>
                  <a:lnTo>
                    <a:pt x="1192" y="2903"/>
                  </a:lnTo>
                  <a:lnTo>
                    <a:pt x="1253" y="2974"/>
                  </a:lnTo>
                  <a:lnTo>
                    <a:pt x="1271" y="3044"/>
                  </a:lnTo>
                  <a:lnTo>
                    <a:pt x="1262" y="3132"/>
                  </a:lnTo>
                  <a:lnTo>
                    <a:pt x="1306" y="3167"/>
                  </a:lnTo>
                  <a:lnTo>
                    <a:pt x="1359" y="3211"/>
                  </a:lnTo>
                  <a:lnTo>
                    <a:pt x="1324" y="3282"/>
                  </a:lnTo>
                  <a:lnTo>
                    <a:pt x="1236" y="3308"/>
                  </a:lnTo>
                  <a:lnTo>
                    <a:pt x="1236" y="3370"/>
                  </a:lnTo>
                  <a:lnTo>
                    <a:pt x="1218" y="3423"/>
                  </a:lnTo>
                  <a:lnTo>
                    <a:pt x="1209" y="3494"/>
                  </a:lnTo>
                  <a:lnTo>
                    <a:pt x="1236" y="3555"/>
                  </a:lnTo>
                  <a:lnTo>
                    <a:pt x="1271" y="3591"/>
                  </a:lnTo>
                  <a:lnTo>
                    <a:pt x="1333" y="3635"/>
                  </a:lnTo>
                  <a:lnTo>
                    <a:pt x="1386" y="3599"/>
                  </a:lnTo>
                  <a:lnTo>
                    <a:pt x="1412" y="3529"/>
                  </a:lnTo>
                  <a:lnTo>
                    <a:pt x="1439" y="3476"/>
                  </a:lnTo>
                  <a:lnTo>
                    <a:pt x="1501" y="3546"/>
                  </a:lnTo>
                  <a:lnTo>
                    <a:pt x="1492" y="3591"/>
                  </a:lnTo>
                  <a:lnTo>
                    <a:pt x="1430" y="3652"/>
                  </a:lnTo>
                  <a:lnTo>
                    <a:pt x="1465" y="3714"/>
                  </a:lnTo>
                  <a:lnTo>
                    <a:pt x="1439" y="3767"/>
                  </a:lnTo>
                  <a:lnTo>
                    <a:pt x="1456" y="3838"/>
                  </a:lnTo>
                  <a:lnTo>
                    <a:pt x="1492" y="3891"/>
                  </a:lnTo>
                  <a:lnTo>
                    <a:pt x="1492" y="3970"/>
                  </a:lnTo>
                  <a:lnTo>
                    <a:pt x="1554" y="3997"/>
                  </a:lnTo>
                  <a:lnTo>
                    <a:pt x="1633" y="3997"/>
                  </a:lnTo>
                  <a:lnTo>
                    <a:pt x="1933" y="3741"/>
                  </a:lnTo>
                  <a:lnTo>
                    <a:pt x="1986" y="3661"/>
                  </a:lnTo>
                  <a:lnTo>
                    <a:pt x="2021" y="3529"/>
                  </a:lnTo>
                  <a:lnTo>
                    <a:pt x="2030" y="3441"/>
                  </a:lnTo>
                  <a:lnTo>
                    <a:pt x="2065" y="3352"/>
                  </a:lnTo>
                  <a:lnTo>
                    <a:pt x="2110" y="3308"/>
                  </a:lnTo>
                  <a:lnTo>
                    <a:pt x="2127" y="3229"/>
                  </a:lnTo>
                  <a:lnTo>
                    <a:pt x="2118" y="3141"/>
                  </a:lnTo>
                  <a:lnTo>
                    <a:pt x="2110" y="3070"/>
                  </a:lnTo>
                  <a:lnTo>
                    <a:pt x="2083" y="2983"/>
                  </a:lnTo>
                  <a:lnTo>
                    <a:pt x="2039" y="2921"/>
                  </a:lnTo>
                  <a:lnTo>
                    <a:pt x="2048" y="2833"/>
                  </a:lnTo>
                  <a:lnTo>
                    <a:pt x="2092" y="2762"/>
                  </a:lnTo>
                  <a:lnTo>
                    <a:pt x="2154" y="2718"/>
                  </a:lnTo>
                  <a:lnTo>
                    <a:pt x="2154" y="2621"/>
                  </a:lnTo>
                  <a:lnTo>
                    <a:pt x="2171" y="2506"/>
                  </a:lnTo>
                  <a:lnTo>
                    <a:pt x="2154" y="2356"/>
                  </a:lnTo>
                  <a:lnTo>
                    <a:pt x="2110" y="2259"/>
                  </a:lnTo>
                  <a:lnTo>
                    <a:pt x="2092" y="2180"/>
                  </a:lnTo>
                  <a:lnTo>
                    <a:pt x="2101" y="2118"/>
                  </a:lnTo>
                  <a:lnTo>
                    <a:pt x="2110" y="2030"/>
                  </a:lnTo>
                  <a:lnTo>
                    <a:pt x="2083" y="1977"/>
                  </a:lnTo>
                  <a:lnTo>
                    <a:pt x="1995" y="1906"/>
                  </a:lnTo>
                  <a:lnTo>
                    <a:pt x="2021" y="1827"/>
                  </a:lnTo>
                  <a:lnTo>
                    <a:pt x="1933" y="1818"/>
                  </a:lnTo>
                  <a:lnTo>
                    <a:pt x="1854" y="1809"/>
                  </a:lnTo>
                  <a:lnTo>
                    <a:pt x="1809" y="1774"/>
                  </a:lnTo>
                  <a:lnTo>
                    <a:pt x="1748" y="1818"/>
                  </a:lnTo>
                  <a:lnTo>
                    <a:pt x="1686" y="1809"/>
                  </a:lnTo>
                  <a:lnTo>
                    <a:pt x="1651" y="1739"/>
                  </a:lnTo>
                  <a:lnTo>
                    <a:pt x="1580" y="1721"/>
                  </a:lnTo>
                  <a:lnTo>
                    <a:pt x="1501" y="1659"/>
                  </a:lnTo>
                  <a:lnTo>
                    <a:pt x="1474" y="1589"/>
                  </a:lnTo>
                  <a:lnTo>
                    <a:pt x="1412" y="1562"/>
                  </a:lnTo>
                  <a:lnTo>
                    <a:pt x="1351" y="1589"/>
                  </a:lnTo>
                  <a:lnTo>
                    <a:pt x="1315" y="1492"/>
                  </a:lnTo>
                  <a:lnTo>
                    <a:pt x="1262" y="1553"/>
                  </a:lnTo>
                  <a:lnTo>
                    <a:pt x="1165" y="1518"/>
                  </a:lnTo>
                  <a:lnTo>
                    <a:pt x="1112" y="1456"/>
                  </a:lnTo>
                  <a:lnTo>
                    <a:pt x="1042" y="1395"/>
                  </a:lnTo>
                  <a:lnTo>
                    <a:pt x="971" y="1350"/>
                  </a:lnTo>
                  <a:lnTo>
                    <a:pt x="892" y="1368"/>
                  </a:lnTo>
                  <a:lnTo>
                    <a:pt x="883" y="1297"/>
                  </a:lnTo>
                  <a:lnTo>
                    <a:pt x="901" y="1227"/>
                  </a:lnTo>
                  <a:lnTo>
                    <a:pt x="909" y="1183"/>
                  </a:lnTo>
                  <a:lnTo>
                    <a:pt x="874" y="1130"/>
                  </a:lnTo>
                  <a:lnTo>
                    <a:pt x="839" y="1050"/>
                  </a:lnTo>
                  <a:lnTo>
                    <a:pt x="918" y="997"/>
                  </a:lnTo>
                  <a:lnTo>
                    <a:pt x="874" y="980"/>
                  </a:lnTo>
                  <a:lnTo>
                    <a:pt x="821" y="944"/>
                  </a:lnTo>
                  <a:lnTo>
                    <a:pt x="803" y="909"/>
                  </a:lnTo>
                  <a:lnTo>
                    <a:pt x="795" y="830"/>
                  </a:lnTo>
                  <a:lnTo>
                    <a:pt x="856" y="794"/>
                  </a:lnTo>
                  <a:lnTo>
                    <a:pt x="865" y="750"/>
                  </a:lnTo>
                  <a:lnTo>
                    <a:pt x="803" y="671"/>
                  </a:lnTo>
                  <a:lnTo>
                    <a:pt x="750" y="644"/>
                  </a:lnTo>
                  <a:lnTo>
                    <a:pt x="680" y="609"/>
                  </a:lnTo>
                  <a:lnTo>
                    <a:pt x="733" y="556"/>
                  </a:lnTo>
                  <a:lnTo>
                    <a:pt x="715" y="477"/>
                  </a:lnTo>
                  <a:lnTo>
                    <a:pt x="662" y="389"/>
                  </a:lnTo>
                  <a:lnTo>
                    <a:pt x="618" y="371"/>
                  </a:lnTo>
                  <a:lnTo>
                    <a:pt x="539" y="353"/>
                  </a:lnTo>
                  <a:lnTo>
                    <a:pt x="468" y="362"/>
                  </a:lnTo>
                  <a:lnTo>
                    <a:pt x="459" y="309"/>
                  </a:lnTo>
                  <a:lnTo>
                    <a:pt x="406" y="274"/>
                  </a:lnTo>
                  <a:lnTo>
                    <a:pt x="345" y="274"/>
                  </a:lnTo>
                  <a:lnTo>
                    <a:pt x="336" y="221"/>
                  </a:lnTo>
                  <a:lnTo>
                    <a:pt x="292" y="186"/>
                  </a:lnTo>
                  <a:lnTo>
                    <a:pt x="300" y="124"/>
                  </a:lnTo>
                  <a:lnTo>
                    <a:pt x="292" y="62"/>
                  </a:lnTo>
                  <a:lnTo>
                    <a:pt x="283" y="0"/>
                  </a:lnTo>
                  <a:lnTo>
                    <a:pt x="195" y="27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4" name="Freeform 13"/>
            <p:cNvSpPr>
              <a:spLocks noChangeArrowheads="1"/>
            </p:cNvSpPr>
            <p:nvPr/>
          </p:nvSpPr>
          <p:spPr bwMode="auto">
            <a:xfrm>
              <a:off x="2681052" y="2287480"/>
              <a:ext cx="398367" cy="555545"/>
            </a:xfrm>
            <a:custGeom>
              <a:avLst/>
              <a:gdLst/>
              <a:ahLst/>
              <a:cxnLst>
                <a:cxn ang="0">
                  <a:pos x="1112" y="1835"/>
                </a:cxn>
                <a:cxn ang="0">
                  <a:pos x="1006" y="1791"/>
                </a:cxn>
                <a:cxn ang="0">
                  <a:pos x="865" y="1774"/>
                </a:cxn>
                <a:cxn ang="0">
                  <a:pos x="776" y="1809"/>
                </a:cxn>
                <a:cxn ang="0">
                  <a:pos x="618" y="1827"/>
                </a:cxn>
                <a:cxn ang="0">
                  <a:pos x="582" y="1738"/>
                </a:cxn>
                <a:cxn ang="0">
                  <a:pos x="485" y="1694"/>
                </a:cxn>
                <a:cxn ang="0">
                  <a:pos x="459" y="1571"/>
                </a:cxn>
                <a:cxn ang="0">
                  <a:pos x="450" y="1438"/>
                </a:cxn>
                <a:cxn ang="0">
                  <a:pos x="406" y="1359"/>
                </a:cxn>
                <a:cxn ang="0">
                  <a:pos x="565" y="1324"/>
                </a:cxn>
                <a:cxn ang="0">
                  <a:pos x="591" y="1200"/>
                </a:cxn>
                <a:cxn ang="0">
                  <a:pos x="494" y="1130"/>
                </a:cxn>
                <a:cxn ang="0">
                  <a:pos x="397" y="1050"/>
                </a:cxn>
                <a:cxn ang="0">
                  <a:pos x="291" y="997"/>
                </a:cxn>
                <a:cxn ang="0">
                  <a:pos x="212" y="944"/>
                </a:cxn>
                <a:cxn ang="0">
                  <a:pos x="79" y="883"/>
                </a:cxn>
                <a:cxn ang="0">
                  <a:pos x="0" y="785"/>
                </a:cxn>
                <a:cxn ang="0">
                  <a:pos x="168" y="680"/>
                </a:cxn>
                <a:cxn ang="0">
                  <a:pos x="132" y="521"/>
                </a:cxn>
                <a:cxn ang="0">
                  <a:pos x="35" y="415"/>
                </a:cxn>
                <a:cxn ang="0">
                  <a:pos x="97" y="247"/>
                </a:cxn>
                <a:cxn ang="0">
                  <a:pos x="115" y="62"/>
                </a:cxn>
                <a:cxn ang="0">
                  <a:pos x="203" y="27"/>
                </a:cxn>
                <a:cxn ang="0">
                  <a:pos x="256" y="80"/>
                </a:cxn>
                <a:cxn ang="0">
                  <a:pos x="256" y="212"/>
                </a:cxn>
                <a:cxn ang="0">
                  <a:pos x="423" y="256"/>
                </a:cxn>
                <a:cxn ang="0">
                  <a:pos x="415" y="362"/>
                </a:cxn>
                <a:cxn ang="0">
                  <a:pos x="379" y="503"/>
                </a:cxn>
                <a:cxn ang="0">
                  <a:pos x="521" y="450"/>
                </a:cxn>
                <a:cxn ang="0">
                  <a:pos x="653" y="521"/>
                </a:cxn>
                <a:cxn ang="0">
                  <a:pos x="750" y="574"/>
                </a:cxn>
                <a:cxn ang="0">
                  <a:pos x="865" y="653"/>
                </a:cxn>
                <a:cxn ang="0">
                  <a:pos x="935" y="812"/>
                </a:cxn>
                <a:cxn ang="0">
                  <a:pos x="971" y="962"/>
                </a:cxn>
                <a:cxn ang="0">
                  <a:pos x="1068" y="1103"/>
                </a:cxn>
                <a:cxn ang="0">
                  <a:pos x="1200" y="1156"/>
                </a:cxn>
                <a:cxn ang="0">
                  <a:pos x="1324" y="1288"/>
                </a:cxn>
                <a:cxn ang="0">
                  <a:pos x="1359" y="1412"/>
                </a:cxn>
                <a:cxn ang="0">
                  <a:pos x="1315" y="1509"/>
                </a:cxn>
                <a:cxn ang="0">
                  <a:pos x="1359" y="1659"/>
                </a:cxn>
                <a:cxn ang="0">
                  <a:pos x="1429" y="1756"/>
                </a:cxn>
                <a:cxn ang="0">
                  <a:pos x="1315" y="1906"/>
                </a:cxn>
                <a:cxn ang="0">
                  <a:pos x="1227" y="1933"/>
                </a:cxn>
                <a:cxn ang="0">
                  <a:pos x="1129" y="1941"/>
                </a:cxn>
              </a:cxnLst>
              <a:rect l="0" t="0" r="r" b="b"/>
              <a:pathLst>
                <a:path w="1430" h="1969">
                  <a:moveTo>
                    <a:pt x="1121" y="1888"/>
                  </a:moveTo>
                  <a:lnTo>
                    <a:pt x="1112" y="1835"/>
                  </a:lnTo>
                  <a:lnTo>
                    <a:pt x="1041" y="1827"/>
                  </a:lnTo>
                  <a:lnTo>
                    <a:pt x="1006" y="1791"/>
                  </a:lnTo>
                  <a:lnTo>
                    <a:pt x="944" y="1765"/>
                  </a:lnTo>
                  <a:lnTo>
                    <a:pt x="865" y="1774"/>
                  </a:lnTo>
                  <a:lnTo>
                    <a:pt x="856" y="1712"/>
                  </a:lnTo>
                  <a:lnTo>
                    <a:pt x="776" y="1809"/>
                  </a:lnTo>
                  <a:lnTo>
                    <a:pt x="688" y="1844"/>
                  </a:lnTo>
                  <a:lnTo>
                    <a:pt x="618" y="1827"/>
                  </a:lnTo>
                  <a:lnTo>
                    <a:pt x="626" y="1765"/>
                  </a:lnTo>
                  <a:lnTo>
                    <a:pt x="582" y="1738"/>
                  </a:lnTo>
                  <a:lnTo>
                    <a:pt x="503" y="1738"/>
                  </a:lnTo>
                  <a:lnTo>
                    <a:pt x="485" y="1694"/>
                  </a:lnTo>
                  <a:lnTo>
                    <a:pt x="476" y="1633"/>
                  </a:lnTo>
                  <a:lnTo>
                    <a:pt x="459" y="1571"/>
                  </a:lnTo>
                  <a:lnTo>
                    <a:pt x="441" y="1500"/>
                  </a:lnTo>
                  <a:lnTo>
                    <a:pt x="450" y="1438"/>
                  </a:lnTo>
                  <a:lnTo>
                    <a:pt x="379" y="1403"/>
                  </a:lnTo>
                  <a:lnTo>
                    <a:pt x="406" y="1359"/>
                  </a:lnTo>
                  <a:lnTo>
                    <a:pt x="485" y="1333"/>
                  </a:lnTo>
                  <a:lnTo>
                    <a:pt x="565" y="1324"/>
                  </a:lnTo>
                  <a:lnTo>
                    <a:pt x="600" y="1288"/>
                  </a:lnTo>
                  <a:lnTo>
                    <a:pt x="591" y="1200"/>
                  </a:lnTo>
                  <a:lnTo>
                    <a:pt x="565" y="1138"/>
                  </a:lnTo>
                  <a:lnTo>
                    <a:pt x="494" y="1130"/>
                  </a:lnTo>
                  <a:lnTo>
                    <a:pt x="476" y="1077"/>
                  </a:lnTo>
                  <a:lnTo>
                    <a:pt x="397" y="1050"/>
                  </a:lnTo>
                  <a:lnTo>
                    <a:pt x="344" y="1015"/>
                  </a:lnTo>
                  <a:lnTo>
                    <a:pt x="291" y="997"/>
                  </a:lnTo>
                  <a:lnTo>
                    <a:pt x="300" y="953"/>
                  </a:lnTo>
                  <a:lnTo>
                    <a:pt x="212" y="944"/>
                  </a:lnTo>
                  <a:lnTo>
                    <a:pt x="141" y="883"/>
                  </a:lnTo>
                  <a:lnTo>
                    <a:pt x="79" y="883"/>
                  </a:lnTo>
                  <a:lnTo>
                    <a:pt x="18" y="865"/>
                  </a:lnTo>
                  <a:lnTo>
                    <a:pt x="0" y="785"/>
                  </a:lnTo>
                  <a:lnTo>
                    <a:pt x="97" y="733"/>
                  </a:lnTo>
                  <a:lnTo>
                    <a:pt x="168" y="680"/>
                  </a:lnTo>
                  <a:lnTo>
                    <a:pt x="168" y="609"/>
                  </a:lnTo>
                  <a:lnTo>
                    <a:pt x="132" y="521"/>
                  </a:lnTo>
                  <a:lnTo>
                    <a:pt x="88" y="468"/>
                  </a:lnTo>
                  <a:lnTo>
                    <a:pt x="35" y="415"/>
                  </a:lnTo>
                  <a:lnTo>
                    <a:pt x="79" y="344"/>
                  </a:lnTo>
                  <a:lnTo>
                    <a:pt x="97" y="247"/>
                  </a:lnTo>
                  <a:lnTo>
                    <a:pt x="123" y="141"/>
                  </a:lnTo>
                  <a:lnTo>
                    <a:pt x="115" y="62"/>
                  </a:lnTo>
                  <a:lnTo>
                    <a:pt x="159" y="0"/>
                  </a:lnTo>
                  <a:lnTo>
                    <a:pt x="203" y="27"/>
                  </a:lnTo>
                  <a:lnTo>
                    <a:pt x="194" y="97"/>
                  </a:lnTo>
                  <a:lnTo>
                    <a:pt x="256" y="80"/>
                  </a:lnTo>
                  <a:lnTo>
                    <a:pt x="256" y="150"/>
                  </a:lnTo>
                  <a:lnTo>
                    <a:pt x="256" y="212"/>
                  </a:lnTo>
                  <a:lnTo>
                    <a:pt x="318" y="238"/>
                  </a:lnTo>
                  <a:lnTo>
                    <a:pt x="423" y="256"/>
                  </a:lnTo>
                  <a:lnTo>
                    <a:pt x="415" y="291"/>
                  </a:lnTo>
                  <a:lnTo>
                    <a:pt x="415" y="362"/>
                  </a:lnTo>
                  <a:lnTo>
                    <a:pt x="362" y="432"/>
                  </a:lnTo>
                  <a:lnTo>
                    <a:pt x="379" y="503"/>
                  </a:lnTo>
                  <a:lnTo>
                    <a:pt x="441" y="459"/>
                  </a:lnTo>
                  <a:lnTo>
                    <a:pt x="521" y="450"/>
                  </a:lnTo>
                  <a:lnTo>
                    <a:pt x="573" y="468"/>
                  </a:lnTo>
                  <a:lnTo>
                    <a:pt x="653" y="521"/>
                  </a:lnTo>
                  <a:lnTo>
                    <a:pt x="688" y="565"/>
                  </a:lnTo>
                  <a:lnTo>
                    <a:pt x="750" y="574"/>
                  </a:lnTo>
                  <a:lnTo>
                    <a:pt x="803" y="582"/>
                  </a:lnTo>
                  <a:lnTo>
                    <a:pt x="865" y="653"/>
                  </a:lnTo>
                  <a:lnTo>
                    <a:pt x="944" y="715"/>
                  </a:lnTo>
                  <a:lnTo>
                    <a:pt x="935" y="812"/>
                  </a:lnTo>
                  <a:lnTo>
                    <a:pt x="918" y="891"/>
                  </a:lnTo>
                  <a:lnTo>
                    <a:pt x="971" y="962"/>
                  </a:lnTo>
                  <a:lnTo>
                    <a:pt x="1024" y="1033"/>
                  </a:lnTo>
                  <a:lnTo>
                    <a:pt x="1068" y="1103"/>
                  </a:lnTo>
                  <a:lnTo>
                    <a:pt x="1138" y="1138"/>
                  </a:lnTo>
                  <a:lnTo>
                    <a:pt x="1200" y="1156"/>
                  </a:lnTo>
                  <a:lnTo>
                    <a:pt x="1262" y="1200"/>
                  </a:lnTo>
                  <a:lnTo>
                    <a:pt x="1324" y="1288"/>
                  </a:lnTo>
                  <a:lnTo>
                    <a:pt x="1359" y="1341"/>
                  </a:lnTo>
                  <a:lnTo>
                    <a:pt x="1359" y="1412"/>
                  </a:lnTo>
                  <a:lnTo>
                    <a:pt x="1297" y="1430"/>
                  </a:lnTo>
                  <a:lnTo>
                    <a:pt x="1315" y="1509"/>
                  </a:lnTo>
                  <a:lnTo>
                    <a:pt x="1332" y="1580"/>
                  </a:lnTo>
                  <a:lnTo>
                    <a:pt x="1359" y="1659"/>
                  </a:lnTo>
                  <a:lnTo>
                    <a:pt x="1385" y="1703"/>
                  </a:lnTo>
                  <a:lnTo>
                    <a:pt x="1429" y="1756"/>
                  </a:lnTo>
                  <a:lnTo>
                    <a:pt x="1341" y="1835"/>
                  </a:lnTo>
                  <a:lnTo>
                    <a:pt x="1315" y="1906"/>
                  </a:lnTo>
                  <a:lnTo>
                    <a:pt x="1271" y="1968"/>
                  </a:lnTo>
                  <a:lnTo>
                    <a:pt x="1227" y="1933"/>
                  </a:lnTo>
                  <a:lnTo>
                    <a:pt x="1174" y="1959"/>
                  </a:lnTo>
                  <a:lnTo>
                    <a:pt x="1129" y="1941"/>
                  </a:lnTo>
                  <a:lnTo>
                    <a:pt x="1121" y="1888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5" name="Freeform 31"/>
            <p:cNvSpPr>
              <a:spLocks noChangeArrowheads="1"/>
            </p:cNvSpPr>
            <p:nvPr/>
          </p:nvSpPr>
          <p:spPr bwMode="auto">
            <a:xfrm>
              <a:off x="2808021" y="2009708"/>
              <a:ext cx="179345" cy="225392"/>
            </a:xfrm>
            <a:custGeom>
              <a:avLst/>
              <a:gdLst/>
              <a:ahLst/>
              <a:cxnLst>
                <a:cxn ang="0">
                  <a:pos x="573" y="0"/>
                </a:cxn>
                <a:cxn ang="0">
                  <a:pos x="485" y="0"/>
                </a:cxn>
                <a:cxn ang="0">
                  <a:pos x="379" y="18"/>
                </a:cxn>
                <a:cxn ang="0">
                  <a:pos x="317" y="70"/>
                </a:cxn>
                <a:cxn ang="0">
                  <a:pos x="265" y="123"/>
                </a:cxn>
                <a:cxn ang="0">
                  <a:pos x="212" y="141"/>
                </a:cxn>
                <a:cxn ang="0">
                  <a:pos x="194" y="176"/>
                </a:cxn>
                <a:cxn ang="0">
                  <a:pos x="123" y="203"/>
                </a:cxn>
                <a:cxn ang="0">
                  <a:pos x="44" y="212"/>
                </a:cxn>
                <a:cxn ang="0">
                  <a:pos x="9" y="265"/>
                </a:cxn>
                <a:cxn ang="0">
                  <a:pos x="0" y="326"/>
                </a:cxn>
                <a:cxn ang="0">
                  <a:pos x="9" y="388"/>
                </a:cxn>
                <a:cxn ang="0">
                  <a:pos x="17" y="450"/>
                </a:cxn>
                <a:cxn ang="0">
                  <a:pos x="9" y="512"/>
                </a:cxn>
                <a:cxn ang="0">
                  <a:pos x="53" y="547"/>
                </a:cxn>
                <a:cxn ang="0">
                  <a:pos x="62" y="600"/>
                </a:cxn>
                <a:cxn ang="0">
                  <a:pos x="123" y="600"/>
                </a:cxn>
                <a:cxn ang="0">
                  <a:pos x="176" y="635"/>
                </a:cxn>
                <a:cxn ang="0">
                  <a:pos x="185" y="688"/>
                </a:cxn>
                <a:cxn ang="0">
                  <a:pos x="256" y="679"/>
                </a:cxn>
                <a:cxn ang="0">
                  <a:pos x="335" y="697"/>
                </a:cxn>
                <a:cxn ang="0">
                  <a:pos x="379" y="715"/>
                </a:cxn>
                <a:cxn ang="0">
                  <a:pos x="432" y="803"/>
                </a:cxn>
                <a:cxn ang="0">
                  <a:pos x="476" y="768"/>
                </a:cxn>
                <a:cxn ang="0">
                  <a:pos x="503" y="706"/>
                </a:cxn>
                <a:cxn ang="0">
                  <a:pos x="520" y="662"/>
                </a:cxn>
                <a:cxn ang="0">
                  <a:pos x="547" y="591"/>
                </a:cxn>
                <a:cxn ang="0">
                  <a:pos x="556" y="538"/>
                </a:cxn>
                <a:cxn ang="0">
                  <a:pos x="600" y="476"/>
                </a:cxn>
                <a:cxn ang="0">
                  <a:pos x="626" y="423"/>
                </a:cxn>
                <a:cxn ang="0">
                  <a:pos x="626" y="353"/>
                </a:cxn>
                <a:cxn ang="0">
                  <a:pos x="609" y="300"/>
                </a:cxn>
                <a:cxn ang="0">
                  <a:pos x="644" y="238"/>
                </a:cxn>
                <a:cxn ang="0">
                  <a:pos x="618" y="176"/>
                </a:cxn>
                <a:cxn ang="0">
                  <a:pos x="618" y="70"/>
                </a:cxn>
                <a:cxn ang="0">
                  <a:pos x="573" y="0"/>
                </a:cxn>
              </a:cxnLst>
              <a:rect l="0" t="0" r="r" b="b"/>
              <a:pathLst>
                <a:path w="645" h="804">
                  <a:moveTo>
                    <a:pt x="573" y="0"/>
                  </a:moveTo>
                  <a:lnTo>
                    <a:pt x="485" y="0"/>
                  </a:lnTo>
                  <a:lnTo>
                    <a:pt x="379" y="18"/>
                  </a:lnTo>
                  <a:lnTo>
                    <a:pt x="317" y="70"/>
                  </a:lnTo>
                  <a:lnTo>
                    <a:pt x="265" y="123"/>
                  </a:lnTo>
                  <a:lnTo>
                    <a:pt x="212" y="141"/>
                  </a:lnTo>
                  <a:lnTo>
                    <a:pt x="194" y="176"/>
                  </a:lnTo>
                  <a:lnTo>
                    <a:pt x="123" y="203"/>
                  </a:lnTo>
                  <a:lnTo>
                    <a:pt x="44" y="212"/>
                  </a:lnTo>
                  <a:lnTo>
                    <a:pt x="9" y="265"/>
                  </a:lnTo>
                  <a:lnTo>
                    <a:pt x="0" y="326"/>
                  </a:lnTo>
                  <a:lnTo>
                    <a:pt x="9" y="388"/>
                  </a:lnTo>
                  <a:lnTo>
                    <a:pt x="17" y="450"/>
                  </a:lnTo>
                  <a:lnTo>
                    <a:pt x="9" y="512"/>
                  </a:lnTo>
                  <a:lnTo>
                    <a:pt x="53" y="547"/>
                  </a:lnTo>
                  <a:lnTo>
                    <a:pt x="62" y="600"/>
                  </a:lnTo>
                  <a:lnTo>
                    <a:pt x="123" y="600"/>
                  </a:lnTo>
                  <a:lnTo>
                    <a:pt x="176" y="635"/>
                  </a:lnTo>
                  <a:lnTo>
                    <a:pt x="185" y="688"/>
                  </a:lnTo>
                  <a:lnTo>
                    <a:pt x="256" y="679"/>
                  </a:lnTo>
                  <a:lnTo>
                    <a:pt x="335" y="697"/>
                  </a:lnTo>
                  <a:lnTo>
                    <a:pt x="379" y="715"/>
                  </a:lnTo>
                  <a:lnTo>
                    <a:pt x="432" y="803"/>
                  </a:lnTo>
                  <a:lnTo>
                    <a:pt x="476" y="768"/>
                  </a:lnTo>
                  <a:lnTo>
                    <a:pt x="503" y="706"/>
                  </a:lnTo>
                  <a:lnTo>
                    <a:pt x="520" y="662"/>
                  </a:lnTo>
                  <a:lnTo>
                    <a:pt x="547" y="591"/>
                  </a:lnTo>
                  <a:lnTo>
                    <a:pt x="556" y="538"/>
                  </a:lnTo>
                  <a:lnTo>
                    <a:pt x="600" y="476"/>
                  </a:lnTo>
                  <a:lnTo>
                    <a:pt x="626" y="423"/>
                  </a:lnTo>
                  <a:lnTo>
                    <a:pt x="626" y="353"/>
                  </a:lnTo>
                  <a:lnTo>
                    <a:pt x="609" y="300"/>
                  </a:lnTo>
                  <a:lnTo>
                    <a:pt x="644" y="238"/>
                  </a:lnTo>
                  <a:lnTo>
                    <a:pt x="618" y="176"/>
                  </a:lnTo>
                  <a:lnTo>
                    <a:pt x="618" y="70"/>
                  </a:lnTo>
                  <a:lnTo>
                    <a:pt x="573" y="0"/>
                  </a:lnTo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6" name="105 Forma libre"/>
            <p:cNvSpPr/>
            <p:nvPr>
              <p:custDataLst>
                <p:tags r:id="rId13"/>
              </p:custDataLst>
            </p:nvPr>
          </p:nvSpPr>
          <p:spPr bwMode="auto">
            <a:xfrm>
              <a:off x="1708150" y="1631938"/>
              <a:ext cx="215848" cy="492054"/>
            </a:xfrm>
            <a:custGeom>
              <a:avLst/>
              <a:gdLst>
                <a:gd name="connsiteX0" fmla="*/ 149225 w 215971"/>
                <a:gd name="connsiteY0" fmla="*/ 63500 h 492451"/>
                <a:gd name="connsiteX1" fmla="*/ 190500 w 215971"/>
                <a:gd name="connsiteY1" fmla="*/ 66675 h 492451"/>
                <a:gd name="connsiteX2" fmla="*/ 209550 w 215971"/>
                <a:gd name="connsiteY2" fmla="*/ 63500 h 492451"/>
                <a:gd name="connsiteX3" fmla="*/ 212725 w 215971"/>
                <a:gd name="connsiteY3" fmla="*/ 50800 h 492451"/>
                <a:gd name="connsiteX4" fmla="*/ 209550 w 215971"/>
                <a:gd name="connsiteY4" fmla="*/ 25400 h 492451"/>
                <a:gd name="connsiteX5" fmla="*/ 187325 w 215971"/>
                <a:gd name="connsiteY5" fmla="*/ 28575 h 492451"/>
                <a:gd name="connsiteX6" fmla="*/ 168275 w 215971"/>
                <a:gd name="connsiteY6" fmla="*/ 34925 h 492451"/>
                <a:gd name="connsiteX7" fmla="*/ 155575 w 215971"/>
                <a:gd name="connsiteY7" fmla="*/ 31750 h 492451"/>
                <a:gd name="connsiteX8" fmla="*/ 149225 w 215971"/>
                <a:gd name="connsiteY8" fmla="*/ 12700 h 492451"/>
                <a:gd name="connsiteX9" fmla="*/ 146050 w 215971"/>
                <a:gd name="connsiteY9" fmla="*/ 3175 h 492451"/>
                <a:gd name="connsiteX10" fmla="*/ 136525 w 215971"/>
                <a:gd name="connsiteY10" fmla="*/ 0 h 492451"/>
                <a:gd name="connsiteX11" fmla="*/ 117475 w 215971"/>
                <a:gd name="connsiteY11" fmla="*/ 3175 h 492451"/>
                <a:gd name="connsiteX12" fmla="*/ 107950 w 215971"/>
                <a:gd name="connsiteY12" fmla="*/ 22225 h 492451"/>
                <a:gd name="connsiteX13" fmla="*/ 98425 w 215971"/>
                <a:gd name="connsiteY13" fmla="*/ 31750 h 492451"/>
                <a:gd name="connsiteX14" fmla="*/ 92075 w 215971"/>
                <a:gd name="connsiteY14" fmla="*/ 41275 h 492451"/>
                <a:gd name="connsiteX15" fmla="*/ 85725 w 215971"/>
                <a:gd name="connsiteY15" fmla="*/ 63500 h 492451"/>
                <a:gd name="connsiteX16" fmla="*/ 73025 w 215971"/>
                <a:gd name="connsiteY16" fmla="*/ 82550 h 492451"/>
                <a:gd name="connsiteX17" fmla="*/ 60325 w 215971"/>
                <a:gd name="connsiteY17" fmla="*/ 98425 h 492451"/>
                <a:gd name="connsiteX18" fmla="*/ 53975 w 215971"/>
                <a:gd name="connsiteY18" fmla="*/ 111125 h 492451"/>
                <a:gd name="connsiteX19" fmla="*/ 44450 w 215971"/>
                <a:gd name="connsiteY19" fmla="*/ 120650 h 492451"/>
                <a:gd name="connsiteX20" fmla="*/ 38100 w 215971"/>
                <a:gd name="connsiteY20" fmla="*/ 139700 h 492451"/>
                <a:gd name="connsiteX21" fmla="*/ 31750 w 215971"/>
                <a:gd name="connsiteY21" fmla="*/ 149225 h 492451"/>
                <a:gd name="connsiteX22" fmla="*/ 28575 w 215971"/>
                <a:gd name="connsiteY22" fmla="*/ 161925 h 492451"/>
                <a:gd name="connsiteX23" fmla="*/ 22225 w 215971"/>
                <a:gd name="connsiteY23" fmla="*/ 171450 h 492451"/>
                <a:gd name="connsiteX24" fmla="*/ 15875 w 215971"/>
                <a:gd name="connsiteY24" fmla="*/ 184150 h 492451"/>
                <a:gd name="connsiteX25" fmla="*/ 19050 w 215971"/>
                <a:gd name="connsiteY25" fmla="*/ 254000 h 492451"/>
                <a:gd name="connsiteX26" fmla="*/ 3175 w 215971"/>
                <a:gd name="connsiteY26" fmla="*/ 282575 h 492451"/>
                <a:gd name="connsiteX27" fmla="*/ 0 w 215971"/>
                <a:gd name="connsiteY27" fmla="*/ 292100 h 492451"/>
                <a:gd name="connsiteX28" fmla="*/ 22225 w 215971"/>
                <a:gd name="connsiteY28" fmla="*/ 320675 h 492451"/>
                <a:gd name="connsiteX29" fmla="*/ 31750 w 215971"/>
                <a:gd name="connsiteY29" fmla="*/ 339725 h 492451"/>
                <a:gd name="connsiteX30" fmla="*/ 28575 w 215971"/>
                <a:gd name="connsiteY30" fmla="*/ 374650 h 492451"/>
                <a:gd name="connsiteX31" fmla="*/ 22225 w 215971"/>
                <a:gd name="connsiteY31" fmla="*/ 390525 h 492451"/>
                <a:gd name="connsiteX32" fmla="*/ 15875 w 215971"/>
                <a:gd name="connsiteY32" fmla="*/ 409575 h 492451"/>
                <a:gd name="connsiteX33" fmla="*/ 12700 w 215971"/>
                <a:gd name="connsiteY33" fmla="*/ 419100 h 492451"/>
                <a:gd name="connsiteX34" fmla="*/ 9525 w 215971"/>
                <a:gd name="connsiteY34" fmla="*/ 431800 h 492451"/>
                <a:gd name="connsiteX35" fmla="*/ 12700 w 215971"/>
                <a:gd name="connsiteY35" fmla="*/ 473075 h 492451"/>
                <a:gd name="connsiteX36" fmla="*/ 19050 w 215971"/>
                <a:gd name="connsiteY36" fmla="*/ 492125 h 492451"/>
                <a:gd name="connsiteX37" fmla="*/ 57150 w 215971"/>
                <a:gd name="connsiteY37" fmla="*/ 488950 h 492451"/>
                <a:gd name="connsiteX38" fmla="*/ 63500 w 215971"/>
                <a:gd name="connsiteY38" fmla="*/ 479425 h 492451"/>
                <a:gd name="connsiteX39" fmla="*/ 66675 w 215971"/>
                <a:gd name="connsiteY39" fmla="*/ 450850 h 492451"/>
                <a:gd name="connsiteX40" fmla="*/ 79375 w 215971"/>
                <a:gd name="connsiteY40" fmla="*/ 431800 h 492451"/>
                <a:gd name="connsiteX41" fmla="*/ 92075 w 215971"/>
                <a:gd name="connsiteY41" fmla="*/ 403225 h 492451"/>
                <a:gd name="connsiteX42" fmla="*/ 95250 w 215971"/>
                <a:gd name="connsiteY42" fmla="*/ 393700 h 492451"/>
                <a:gd name="connsiteX43" fmla="*/ 107950 w 215971"/>
                <a:gd name="connsiteY43" fmla="*/ 307975 h 492451"/>
                <a:gd name="connsiteX44" fmla="*/ 117475 w 215971"/>
                <a:gd name="connsiteY44" fmla="*/ 298450 h 492451"/>
                <a:gd name="connsiteX45" fmla="*/ 120650 w 215971"/>
                <a:gd name="connsiteY45" fmla="*/ 288925 h 492451"/>
                <a:gd name="connsiteX46" fmla="*/ 127000 w 215971"/>
                <a:gd name="connsiteY46" fmla="*/ 279400 h 492451"/>
                <a:gd name="connsiteX47" fmla="*/ 133350 w 215971"/>
                <a:gd name="connsiteY47" fmla="*/ 257175 h 492451"/>
                <a:gd name="connsiteX48" fmla="*/ 139700 w 215971"/>
                <a:gd name="connsiteY48" fmla="*/ 231775 h 492451"/>
                <a:gd name="connsiteX49" fmla="*/ 146050 w 215971"/>
                <a:gd name="connsiteY49" fmla="*/ 206375 h 492451"/>
                <a:gd name="connsiteX50" fmla="*/ 149225 w 215971"/>
                <a:gd name="connsiteY50" fmla="*/ 63500 h 492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15971" h="492451">
                  <a:moveTo>
                    <a:pt x="149225" y="63500"/>
                  </a:moveTo>
                  <a:cubicBezTo>
                    <a:pt x="156633" y="40217"/>
                    <a:pt x="176701" y="66675"/>
                    <a:pt x="190500" y="66675"/>
                  </a:cubicBezTo>
                  <a:cubicBezTo>
                    <a:pt x="196938" y="66675"/>
                    <a:pt x="204312" y="67242"/>
                    <a:pt x="209550" y="63500"/>
                  </a:cubicBezTo>
                  <a:cubicBezTo>
                    <a:pt x="213101" y="60964"/>
                    <a:pt x="211667" y="55033"/>
                    <a:pt x="212725" y="50800"/>
                  </a:cubicBezTo>
                  <a:cubicBezTo>
                    <a:pt x="211667" y="42333"/>
                    <a:pt x="215971" y="31019"/>
                    <a:pt x="209550" y="25400"/>
                  </a:cubicBezTo>
                  <a:cubicBezTo>
                    <a:pt x="203918" y="20472"/>
                    <a:pt x="194617" y="26892"/>
                    <a:pt x="187325" y="28575"/>
                  </a:cubicBezTo>
                  <a:cubicBezTo>
                    <a:pt x="180803" y="30080"/>
                    <a:pt x="168275" y="34925"/>
                    <a:pt x="168275" y="34925"/>
                  </a:cubicBezTo>
                  <a:cubicBezTo>
                    <a:pt x="164042" y="33867"/>
                    <a:pt x="158415" y="35063"/>
                    <a:pt x="155575" y="31750"/>
                  </a:cubicBezTo>
                  <a:cubicBezTo>
                    <a:pt x="151219" y="26668"/>
                    <a:pt x="151342" y="19050"/>
                    <a:pt x="149225" y="12700"/>
                  </a:cubicBezTo>
                  <a:cubicBezTo>
                    <a:pt x="148167" y="9525"/>
                    <a:pt x="149225" y="4233"/>
                    <a:pt x="146050" y="3175"/>
                  </a:cubicBezTo>
                  <a:lnTo>
                    <a:pt x="136525" y="0"/>
                  </a:lnTo>
                  <a:cubicBezTo>
                    <a:pt x="130175" y="1058"/>
                    <a:pt x="123233" y="296"/>
                    <a:pt x="117475" y="3175"/>
                  </a:cubicBezTo>
                  <a:cubicBezTo>
                    <a:pt x="109981" y="6922"/>
                    <a:pt x="111707" y="16590"/>
                    <a:pt x="107950" y="22225"/>
                  </a:cubicBezTo>
                  <a:cubicBezTo>
                    <a:pt x="105459" y="25961"/>
                    <a:pt x="101300" y="28301"/>
                    <a:pt x="98425" y="31750"/>
                  </a:cubicBezTo>
                  <a:cubicBezTo>
                    <a:pt x="95982" y="34681"/>
                    <a:pt x="94192" y="38100"/>
                    <a:pt x="92075" y="41275"/>
                  </a:cubicBezTo>
                  <a:cubicBezTo>
                    <a:pt x="91328" y="44264"/>
                    <a:pt x="87795" y="59773"/>
                    <a:pt x="85725" y="63500"/>
                  </a:cubicBezTo>
                  <a:cubicBezTo>
                    <a:pt x="82019" y="70171"/>
                    <a:pt x="75438" y="75310"/>
                    <a:pt x="73025" y="82550"/>
                  </a:cubicBezTo>
                  <a:cubicBezTo>
                    <a:pt x="68643" y="95695"/>
                    <a:pt x="72635" y="90219"/>
                    <a:pt x="60325" y="98425"/>
                  </a:cubicBezTo>
                  <a:cubicBezTo>
                    <a:pt x="58208" y="102658"/>
                    <a:pt x="56726" y="107274"/>
                    <a:pt x="53975" y="111125"/>
                  </a:cubicBezTo>
                  <a:cubicBezTo>
                    <a:pt x="51365" y="114779"/>
                    <a:pt x="46631" y="116725"/>
                    <a:pt x="44450" y="120650"/>
                  </a:cubicBezTo>
                  <a:cubicBezTo>
                    <a:pt x="41199" y="126501"/>
                    <a:pt x="40217" y="133350"/>
                    <a:pt x="38100" y="139700"/>
                  </a:cubicBezTo>
                  <a:cubicBezTo>
                    <a:pt x="36893" y="143320"/>
                    <a:pt x="33867" y="146050"/>
                    <a:pt x="31750" y="149225"/>
                  </a:cubicBezTo>
                  <a:cubicBezTo>
                    <a:pt x="30692" y="153458"/>
                    <a:pt x="30294" y="157914"/>
                    <a:pt x="28575" y="161925"/>
                  </a:cubicBezTo>
                  <a:cubicBezTo>
                    <a:pt x="27072" y="165432"/>
                    <a:pt x="24118" y="168137"/>
                    <a:pt x="22225" y="171450"/>
                  </a:cubicBezTo>
                  <a:cubicBezTo>
                    <a:pt x="19877" y="175559"/>
                    <a:pt x="17992" y="179917"/>
                    <a:pt x="15875" y="184150"/>
                  </a:cubicBezTo>
                  <a:cubicBezTo>
                    <a:pt x="16933" y="207433"/>
                    <a:pt x="19050" y="230693"/>
                    <a:pt x="19050" y="254000"/>
                  </a:cubicBezTo>
                  <a:cubicBezTo>
                    <a:pt x="19050" y="263575"/>
                    <a:pt x="4988" y="277136"/>
                    <a:pt x="3175" y="282575"/>
                  </a:cubicBezTo>
                  <a:lnTo>
                    <a:pt x="0" y="292100"/>
                  </a:lnTo>
                  <a:cubicBezTo>
                    <a:pt x="14921" y="307021"/>
                    <a:pt x="7034" y="297889"/>
                    <a:pt x="22225" y="320675"/>
                  </a:cubicBezTo>
                  <a:cubicBezTo>
                    <a:pt x="30431" y="332985"/>
                    <a:pt x="27368" y="326580"/>
                    <a:pt x="31750" y="339725"/>
                  </a:cubicBezTo>
                  <a:cubicBezTo>
                    <a:pt x="30692" y="351367"/>
                    <a:pt x="30729" y="363161"/>
                    <a:pt x="28575" y="374650"/>
                  </a:cubicBezTo>
                  <a:cubicBezTo>
                    <a:pt x="27525" y="380252"/>
                    <a:pt x="24173" y="385169"/>
                    <a:pt x="22225" y="390525"/>
                  </a:cubicBezTo>
                  <a:cubicBezTo>
                    <a:pt x="19938" y="396815"/>
                    <a:pt x="17992" y="403225"/>
                    <a:pt x="15875" y="409575"/>
                  </a:cubicBezTo>
                  <a:cubicBezTo>
                    <a:pt x="14817" y="412750"/>
                    <a:pt x="13512" y="415853"/>
                    <a:pt x="12700" y="419100"/>
                  </a:cubicBezTo>
                  <a:lnTo>
                    <a:pt x="9525" y="431800"/>
                  </a:lnTo>
                  <a:cubicBezTo>
                    <a:pt x="10583" y="445558"/>
                    <a:pt x="10548" y="459445"/>
                    <a:pt x="12700" y="473075"/>
                  </a:cubicBezTo>
                  <a:cubicBezTo>
                    <a:pt x="13744" y="479687"/>
                    <a:pt x="19050" y="492125"/>
                    <a:pt x="19050" y="492125"/>
                  </a:cubicBezTo>
                  <a:cubicBezTo>
                    <a:pt x="31750" y="491067"/>
                    <a:pt x="44896" y="492451"/>
                    <a:pt x="57150" y="488950"/>
                  </a:cubicBezTo>
                  <a:cubicBezTo>
                    <a:pt x="60819" y="487902"/>
                    <a:pt x="62575" y="483127"/>
                    <a:pt x="63500" y="479425"/>
                  </a:cubicBezTo>
                  <a:cubicBezTo>
                    <a:pt x="65824" y="470128"/>
                    <a:pt x="63644" y="459942"/>
                    <a:pt x="66675" y="450850"/>
                  </a:cubicBezTo>
                  <a:cubicBezTo>
                    <a:pt x="69088" y="443610"/>
                    <a:pt x="75142" y="438150"/>
                    <a:pt x="79375" y="431800"/>
                  </a:cubicBezTo>
                  <a:cubicBezTo>
                    <a:pt x="89438" y="416706"/>
                    <a:pt x="84518" y="425895"/>
                    <a:pt x="92075" y="403225"/>
                  </a:cubicBezTo>
                  <a:lnTo>
                    <a:pt x="95250" y="393700"/>
                  </a:lnTo>
                  <a:cubicBezTo>
                    <a:pt x="97806" y="334906"/>
                    <a:pt x="83991" y="335928"/>
                    <a:pt x="107950" y="307975"/>
                  </a:cubicBezTo>
                  <a:cubicBezTo>
                    <a:pt x="110872" y="304566"/>
                    <a:pt x="114300" y="301625"/>
                    <a:pt x="117475" y="298450"/>
                  </a:cubicBezTo>
                  <a:cubicBezTo>
                    <a:pt x="118533" y="295275"/>
                    <a:pt x="119153" y="291918"/>
                    <a:pt x="120650" y="288925"/>
                  </a:cubicBezTo>
                  <a:cubicBezTo>
                    <a:pt x="122357" y="285512"/>
                    <a:pt x="125583" y="282943"/>
                    <a:pt x="127000" y="279400"/>
                  </a:cubicBezTo>
                  <a:cubicBezTo>
                    <a:pt x="129861" y="272246"/>
                    <a:pt x="131365" y="264620"/>
                    <a:pt x="133350" y="257175"/>
                  </a:cubicBezTo>
                  <a:cubicBezTo>
                    <a:pt x="135599" y="248742"/>
                    <a:pt x="137738" y="240279"/>
                    <a:pt x="139700" y="231775"/>
                  </a:cubicBezTo>
                  <a:cubicBezTo>
                    <a:pt x="145447" y="206871"/>
                    <a:pt x="139980" y="224584"/>
                    <a:pt x="146050" y="206375"/>
                  </a:cubicBezTo>
                  <a:cubicBezTo>
                    <a:pt x="154509" y="109100"/>
                    <a:pt x="141817" y="86783"/>
                    <a:pt x="149225" y="63500"/>
                  </a:cubicBezTo>
                  <a:close/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7" name="106 Forma libre"/>
            <p:cNvSpPr/>
            <p:nvPr>
              <p:custDataLst>
                <p:tags r:id="rId14"/>
              </p:custDataLst>
            </p:nvPr>
          </p:nvSpPr>
          <p:spPr bwMode="auto">
            <a:xfrm>
              <a:off x="2066838" y="1611303"/>
              <a:ext cx="161886" cy="319042"/>
            </a:xfrm>
            <a:custGeom>
              <a:avLst/>
              <a:gdLst>
                <a:gd name="connsiteX0" fmla="*/ 57834 w 162609"/>
                <a:gd name="connsiteY0" fmla="*/ 18149 h 319983"/>
                <a:gd name="connsiteX1" fmla="*/ 61009 w 162609"/>
                <a:gd name="connsiteY1" fmla="*/ 40374 h 319983"/>
                <a:gd name="connsiteX2" fmla="*/ 76884 w 162609"/>
                <a:gd name="connsiteY2" fmla="*/ 59424 h 319983"/>
                <a:gd name="connsiteX3" fmla="*/ 80059 w 162609"/>
                <a:gd name="connsiteY3" fmla="*/ 72124 h 319983"/>
                <a:gd name="connsiteX4" fmla="*/ 86409 w 162609"/>
                <a:gd name="connsiteY4" fmla="*/ 84824 h 319983"/>
                <a:gd name="connsiteX5" fmla="*/ 80059 w 162609"/>
                <a:gd name="connsiteY5" fmla="*/ 100699 h 319983"/>
                <a:gd name="connsiteX6" fmla="*/ 67359 w 162609"/>
                <a:gd name="connsiteY6" fmla="*/ 103874 h 319983"/>
                <a:gd name="connsiteX7" fmla="*/ 22909 w 162609"/>
                <a:gd name="connsiteY7" fmla="*/ 107049 h 319983"/>
                <a:gd name="connsiteX8" fmla="*/ 10209 w 162609"/>
                <a:gd name="connsiteY8" fmla="*/ 132449 h 319983"/>
                <a:gd name="connsiteX9" fmla="*/ 3859 w 162609"/>
                <a:gd name="connsiteY9" fmla="*/ 145149 h 319983"/>
                <a:gd name="connsiteX10" fmla="*/ 7034 w 162609"/>
                <a:gd name="connsiteY10" fmla="*/ 183249 h 319983"/>
                <a:gd name="connsiteX11" fmla="*/ 10209 w 162609"/>
                <a:gd name="connsiteY11" fmla="*/ 192774 h 319983"/>
                <a:gd name="connsiteX12" fmla="*/ 7034 w 162609"/>
                <a:gd name="connsiteY12" fmla="*/ 249924 h 319983"/>
                <a:gd name="connsiteX13" fmla="*/ 684 w 162609"/>
                <a:gd name="connsiteY13" fmla="*/ 268974 h 319983"/>
                <a:gd name="connsiteX14" fmla="*/ 3859 w 162609"/>
                <a:gd name="connsiteY14" fmla="*/ 316599 h 319983"/>
                <a:gd name="connsiteX15" fmla="*/ 13384 w 162609"/>
                <a:gd name="connsiteY15" fmla="*/ 319774 h 319983"/>
                <a:gd name="connsiteX16" fmla="*/ 54659 w 162609"/>
                <a:gd name="connsiteY16" fmla="*/ 313424 h 319983"/>
                <a:gd name="connsiteX17" fmla="*/ 61009 w 162609"/>
                <a:gd name="connsiteY17" fmla="*/ 294374 h 319983"/>
                <a:gd name="connsiteX18" fmla="*/ 83234 w 162609"/>
                <a:gd name="connsiteY18" fmla="*/ 265799 h 319983"/>
                <a:gd name="connsiteX19" fmla="*/ 95934 w 162609"/>
                <a:gd name="connsiteY19" fmla="*/ 262624 h 319983"/>
                <a:gd name="connsiteX20" fmla="*/ 105459 w 162609"/>
                <a:gd name="connsiteY20" fmla="*/ 256274 h 319983"/>
                <a:gd name="connsiteX21" fmla="*/ 114984 w 162609"/>
                <a:gd name="connsiteY21" fmla="*/ 246749 h 319983"/>
                <a:gd name="connsiteX22" fmla="*/ 124509 w 162609"/>
                <a:gd name="connsiteY22" fmla="*/ 243574 h 319983"/>
                <a:gd name="connsiteX23" fmla="*/ 137209 w 162609"/>
                <a:gd name="connsiteY23" fmla="*/ 224524 h 319983"/>
                <a:gd name="connsiteX24" fmla="*/ 156259 w 162609"/>
                <a:gd name="connsiteY24" fmla="*/ 211824 h 319983"/>
                <a:gd name="connsiteX25" fmla="*/ 159434 w 162609"/>
                <a:gd name="connsiteY25" fmla="*/ 202299 h 319983"/>
                <a:gd name="connsiteX26" fmla="*/ 156259 w 162609"/>
                <a:gd name="connsiteY26" fmla="*/ 170549 h 319983"/>
                <a:gd name="connsiteX27" fmla="*/ 153084 w 162609"/>
                <a:gd name="connsiteY27" fmla="*/ 161024 h 319983"/>
                <a:gd name="connsiteX28" fmla="*/ 149909 w 162609"/>
                <a:gd name="connsiteY28" fmla="*/ 148324 h 319983"/>
                <a:gd name="connsiteX29" fmla="*/ 153084 w 162609"/>
                <a:gd name="connsiteY29" fmla="*/ 122924 h 319983"/>
                <a:gd name="connsiteX30" fmla="*/ 159434 w 162609"/>
                <a:gd name="connsiteY30" fmla="*/ 113399 h 319983"/>
                <a:gd name="connsiteX31" fmla="*/ 162609 w 162609"/>
                <a:gd name="connsiteY31" fmla="*/ 103874 h 319983"/>
                <a:gd name="connsiteX32" fmla="*/ 159434 w 162609"/>
                <a:gd name="connsiteY32" fmla="*/ 81649 h 319983"/>
                <a:gd name="connsiteX33" fmla="*/ 146734 w 162609"/>
                <a:gd name="connsiteY33" fmla="*/ 68949 h 319983"/>
                <a:gd name="connsiteX34" fmla="*/ 137209 w 162609"/>
                <a:gd name="connsiteY34" fmla="*/ 56249 h 319983"/>
                <a:gd name="connsiteX35" fmla="*/ 127684 w 162609"/>
                <a:gd name="connsiteY35" fmla="*/ 53074 h 319983"/>
                <a:gd name="connsiteX36" fmla="*/ 105459 w 162609"/>
                <a:gd name="connsiteY36" fmla="*/ 49899 h 319983"/>
                <a:gd name="connsiteX37" fmla="*/ 99109 w 162609"/>
                <a:gd name="connsiteY37" fmla="*/ 40374 h 319983"/>
                <a:gd name="connsiteX38" fmla="*/ 95934 w 162609"/>
                <a:gd name="connsiteY38" fmla="*/ 21324 h 319983"/>
                <a:gd name="connsiteX39" fmla="*/ 86409 w 162609"/>
                <a:gd name="connsiteY39" fmla="*/ 14974 h 319983"/>
                <a:gd name="connsiteX40" fmla="*/ 80059 w 162609"/>
                <a:gd name="connsiteY40" fmla="*/ 5449 h 319983"/>
                <a:gd name="connsiteX41" fmla="*/ 57834 w 162609"/>
                <a:gd name="connsiteY41" fmla="*/ 21324 h 319983"/>
                <a:gd name="connsiteX42" fmla="*/ 57834 w 162609"/>
                <a:gd name="connsiteY42" fmla="*/ 18149 h 319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62609" h="319983">
                  <a:moveTo>
                    <a:pt x="57834" y="18149"/>
                  </a:moveTo>
                  <a:cubicBezTo>
                    <a:pt x="58363" y="21324"/>
                    <a:pt x="58859" y="33206"/>
                    <a:pt x="61009" y="40374"/>
                  </a:cubicBezTo>
                  <a:cubicBezTo>
                    <a:pt x="62903" y="46689"/>
                    <a:pt x="72834" y="55374"/>
                    <a:pt x="76884" y="59424"/>
                  </a:cubicBezTo>
                  <a:cubicBezTo>
                    <a:pt x="77942" y="63657"/>
                    <a:pt x="78527" y="68038"/>
                    <a:pt x="80059" y="72124"/>
                  </a:cubicBezTo>
                  <a:cubicBezTo>
                    <a:pt x="81721" y="76556"/>
                    <a:pt x="86409" y="80091"/>
                    <a:pt x="86409" y="84824"/>
                  </a:cubicBezTo>
                  <a:cubicBezTo>
                    <a:pt x="86409" y="90523"/>
                    <a:pt x="84089" y="96669"/>
                    <a:pt x="80059" y="100699"/>
                  </a:cubicBezTo>
                  <a:cubicBezTo>
                    <a:pt x="76973" y="103785"/>
                    <a:pt x="71696" y="103392"/>
                    <a:pt x="67359" y="103874"/>
                  </a:cubicBezTo>
                  <a:cubicBezTo>
                    <a:pt x="52595" y="105514"/>
                    <a:pt x="37726" y="105991"/>
                    <a:pt x="22909" y="107049"/>
                  </a:cubicBezTo>
                  <a:lnTo>
                    <a:pt x="10209" y="132449"/>
                  </a:lnTo>
                  <a:lnTo>
                    <a:pt x="3859" y="145149"/>
                  </a:lnTo>
                  <a:cubicBezTo>
                    <a:pt x="4917" y="157849"/>
                    <a:pt x="5350" y="170617"/>
                    <a:pt x="7034" y="183249"/>
                  </a:cubicBezTo>
                  <a:cubicBezTo>
                    <a:pt x="7476" y="186566"/>
                    <a:pt x="10209" y="189427"/>
                    <a:pt x="10209" y="192774"/>
                  </a:cubicBezTo>
                  <a:cubicBezTo>
                    <a:pt x="10209" y="211853"/>
                    <a:pt x="9401" y="230992"/>
                    <a:pt x="7034" y="249924"/>
                  </a:cubicBezTo>
                  <a:cubicBezTo>
                    <a:pt x="6204" y="256566"/>
                    <a:pt x="684" y="268974"/>
                    <a:pt x="684" y="268974"/>
                  </a:cubicBezTo>
                  <a:cubicBezTo>
                    <a:pt x="1742" y="284849"/>
                    <a:pt x="0" y="301164"/>
                    <a:pt x="3859" y="316599"/>
                  </a:cubicBezTo>
                  <a:cubicBezTo>
                    <a:pt x="4671" y="319846"/>
                    <a:pt x="10044" y="319983"/>
                    <a:pt x="13384" y="319774"/>
                  </a:cubicBezTo>
                  <a:cubicBezTo>
                    <a:pt x="27277" y="318906"/>
                    <a:pt x="40901" y="315541"/>
                    <a:pt x="54659" y="313424"/>
                  </a:cubicBezTo>
                  <a:lnTo>
                    <a:pt x="61009" y="294374"/>
                  </a:lnTo>
                  <a:cubicBezTo>
                    <a:pt x="64847" y="282860"/>
                    <a:pt x="67658" y="269693"/>
                    <a:pt x="83234" y="265799"/>
                  </a:cubicBezTo>
                  <a:lnTo>
                    <a:pt x="95934" y="262624"/>
                  </a:lnTo>
                  <a:cubicBezTo>
                    <a:pt x="99109" y="260507"/>
                    <a:pt x="102528" y="258717"/>
                    <a:pt x="105459" y="256274"/>
                  </a:cubicBezTo>
                  <a:cubicBezTo>
                    <a:pt x="108908" y="253399"/>
                    <a:pt x="111248" y="249240"/>
                    <a:pt x="114984" y="246749"/>
                  </a:cubicBezTo>
                  <a:cubicBezTo>
                    <a:pt x="117769" y="244893"/>
                    <a:pt x="121334" y="244632"/>
                    <a:pt x="124509" y="243574"/>
                  </a:cubicBezTo>
                  <a:cubicBezTo>
                    <a:pt x="128742" y="237224"/>
                    <a:pt x="130859" y="228757"/>
                    <a:pt x="137209" y="224524"/>
                  </a:cubicBezTo>
                  <a:lnTo>
                    <a:pt x="156259" y="211824"/>
                  </a:lnTo>
                  <a:cubicBezTo>
                    <a:pt x="157317" y="208649"/>
                    <a:pt x="159434" y="205646"/>
                    <a:pt x="159434" y="202299"/>
                  </a:cubicBezTo>
                  <a:cubicBezTo>
                    <a:pt x="159434" y="191663"/>
                    <a:pt x="157876" y="181061"/>
                    <a:pt x="156259" y="170549"/>
                  </a:cubicBezTo>
                  <a:cubicBezTo>
                    <a:pt x="155750" y="167241"/>
                    <a:pt x="154003" y="164242"/>
                    <a:pt x="153084" y="161024"/>
                  </a:cubicBezTo>
                  <a:cubicBezTo>
                    <a:pt x="151885" y="156828"/>
                    <a:pt x="150967" y="152557"/>
                    <a:pt x="149909" y="148324"/>
                  </a:cubicBezTo>
                  <a:cubicBezTo>
                    <a:pt x="150967" y="139857"/>
                    <a:pt x="150839" y="131156"/>
                    <a:pt x="153084" y="122924"/>
                  </a:cubicBezTo>
                  <a:cubicBezTo>
                    <a:pt x="154088" y="119243"/>
                    <a:pt x="157727" y="116812"/>
                    <a:pt x="159434" y="113399"/>
                  </a:cubicBezTo>
                  <a:cubicBezTo>
                    <a:pt x="160931" y="110406"/>
                    <a:pt x="161551" y="107049"/>
                    <a:pt x="162609" y="103874"/>
                  </a:cubicBezTo>
                  <a:cubicBezTo>
                    <a:pt x="161551" y="96466"/>
                    <a:pt x="162531" y="88462"/>
                    <a:pt x="159434" y="81649"/>
                  </a:cubicBezTo>
                  <a:cubicBezTo>
                    <a:pt x="156957" y="76199"/>
                    <a:pt x="150676" y="73455"/>
                    <a:pt x="146734" y="68949"/>
                  </a:cubicBezTo>
                  <a:cubicBezTo>
                    <a:pt x="143249" y="64967"/>
                    <a:pt x="141274" y="59637"/>
                    <a:pt x="137209" y="56249"/>
                  </a:cubicBezTo>
                  <a:cubicBezTo>
                    <a:pt x="134638" y="54106"/>
                    <a:pt x="130966" y="53730"/>
                    <a:pt x="127684" y="53074"/>
                  </a:cubicBezTo>
                  <a:cubicBezTo>
                    <a:pt x="120346" y="51606"/>
                    <a:pt x="112867" y="50957"/>
                    <a:pt x="105459" y="49899"/>
                  </a:cubicBezTo>
                  <a:cubicBezTo>
                    <a:pt x="103342" y="46724"/>
                    <a:pt x="100316" y="43994"/>
                    <a:pt x="99109" y="40374"/>
                  </a:cubicBezTo>
                  <a:cubicBezTo>
                    <a:pt x="97073" y="34267"/>
                    <a:pt x="98813" y="27082"/>
                    <a:pt x="95934" y="21324"/>
                  </a:cubicBezTo>
                  <a:cubicBezTo>
                    <a:pt x="94227" y="17911"/>
                    <a:pt x="89584" y="17091"/>
                    <a:pt x="86409" y="14974"/>
                  </a:cubicBezTo>
                  <a:cubicBezTo>
                    <a:pt x="84292" y="11799"/>
                    <a:pt x="83801" y="6197"/>
                    <a:pt x="80059" y="5449"/>
                  </a:cubicBezTo>
                  <a:cubicBezTo>
                    <a:pt x="52816" y="0"/>
                    <a:pt x="51318" y="5033"/>
                    <a:pt x="57834" y="21324"/>
                  </a:cubicBezTo>
                  <a:cubicBezTo>
                    <a:pt x="58390" y="22714"/>
                    <a:pt x="57305" y="14974"/>
                    <a:pt x="57834" y="18149"/>
                  </a:cubicBezTo>
                  <a:close/>
                </a:path>
              </a:pathLst>
            </a:custGeom>
            <a:solidFill>
              <a:srgbClr val="0091C4"/>
            </a:solidFill>
            <a:ln w="3175" cap="sq">
              <a:solidFill>
                <a:schemeClr val="tx2">
                  <a:lumMod val="65000"/>
                  <a:lumOff val="35000"/>
                </a:schemeClr>
              </a:solidFill>
              <a:miter lim="800000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183" name="182 Rectángulo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1000" y="1124744"/>
            <a:ext cx="5292725" cy="5229225"/>
          </a:xfrm>
          <a:prstGeom prst="rect">
            <a:avLst/>
          </a:prstGeom>
          <a:gradFill>
            <a:gsLst>
              <a:gs pos="0">
                <a:schemeClr val="bg1"/>
              </a:gs>
              <a:gs pos="23000">
                <a:schemeClr val="bg1">
                  <a:lumMod val="95000"/>
                  <a:alpha val="87000"/>
                </a:schemeClr>
              </a:gs>
            </a:gsLst>
            <a:lin ang="5400000" scaled="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endParaRPr lang="es-VE">
              <a:ea typeface="ＭＳ Ｐゴシック" pitchFamily="34" charset="-128"/>
            </a:endParaRPr>
          </a:p>
        </p:txBody>
      </p:sp>
      <p:grpSp>
        <p:nvGrpSpPr>
          <p:cNvPr id="6" name="107 Grupo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901290" y="1503362"/>
            <a:ext cx="3167473" cy="3912966"/>
            <a:chOff x="1947407" y="1848648"/>
            <a:chExt cx="3167109" cy="3912452"/>
          </a:xfrm>
        </p:grpSpPr>
        <p:sp>
          <p:nvSpPr>
            <p:cNvPr id="20545" name="206 CuadroTexto"/>
            <p:cNvSpPr txBox="1">
              <a:spLocks noChangeArrowheads="1"/>
            </p:cNvSpPr>
            <p:nvPr/>
          </p:nvSpPr>
          <p:spPr bwMode="auto">
            <a:xfrm>
              <a:off x="3494714" y="1848648"/>
              <a:ext cx="266860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Guajira</a:t>
              </a:r>
            </a:p>
          </p:txBody>
        </p:sp>
        <p:sp>
          <p:nvSpPr>
            <p:cNvPr id="20546" name="207 CuadroTexto"/>
            <p:cNvSpPr txBox="1">
              <a:spLocks noChangeArrowheads="1"/>
            </p:cNvSpPr>
            <p:nvPr/>
          </p:nvSpPr>
          <p:spPr bwMode="auto">
            <a:xfrm>
              <a:off x="3316489" y="2320670"/>
              <a:ext cx="216406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ésar</a:t>
              </a:r>
            </a:p>
          </p:txBody>
        </p:sp>
        <p:sp>
          <p:nvSpPr>
            <p:cNvPr id="20547" name="208 CuadroTexto"/>
            <p:cNvSpPr txBox="1">
              <a:spLocks noChangeArrowheads="1"/>
            </p:cNvSpPr>
            <p:nvPr/>
          </p:nvSpPr>
          <p:spPr bwMode="auto">
            <a:xfrm>
              <a:off x="2776513" y="2050228"/>
              <a:ext cx="334175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Atlántico</a:t>
              </a:r>
            </a:p>
          </p:txBody>
        </p:sp>
        <p:sp>
          <p:nvSpPr>
            <p:cNvPr id="20548" name="209 CuadroTexto"/>
            <p:cNvSpPr txBox="1">
              <a:spLocks noChangeArrowheads="1"/>
            </p:cNvSpPr>
            <p:nvPr/>
          </p:nvSpPr>
          <p:spPr bwMode="auto">
            <a:xfrm>
              <a:off x="2913942" y="2201954"/>
              <a:ext cx="403893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Magdalena</a:t>
              </a:r>
            </a:p>
          </p:txBody>
        </p:sp>
        <p:sp>
          <p:nvSpPr>
            <p:cNvPr id="20549" name="210 CuadroTexto"/>
            <p:cNvSpPr txBox="1">
              <a:spLocks noChangeArrowheads="1"/>
            </p:cNvSpPr>
            <p:nvPr/>
          </p:nvSpPr>
          <p:spPr bwMode="auto">
            <a:xfrm>
              <a:off x="3063929" y="2762208"/>
              <a:ext cx="26205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Bolívar</a:t>
              </a:r>
            </a:p>
          </p:txBody>
        </p:sp>
        <p:sp>
          <p:nvSpPr>
            <p:cNvPr id="20550" name="211 CuadroTexto"/>
            <p:cNvSpPr txBox="1">
              <a:spLocks noChangeArrowheads="1"/>
            </p:cNvSpPr>
            <p:nvPr/>
          </p:nvSpPr>
          <p:spPr bwMode="auto">
            <a:xfrm>
              <a:off x="3508670" y="2723524"/>
              <a:ext cx="379852" cy="276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Norte </a:t>
              </a:r>
              <a:br>
                <a:rPr lang="es-VE" sz="600" i="1">
                  <a:solidFill>
                    <a:schemeClr val="bg1"/>
                  </a:solidFill>
                </a:rPr>
              </a:br>
              <a:r>
                <a:rPr lang="es-VE" sz="600" i="1">
                  <a:solidFill>
                    <a:schemeClr val="bg1"/>
                  </a:solidFill>
                </a:rPr>
                <a:t>de </a:t>
              </a:r>
              <a:br>
                <a:rPr lang="es-VE" sz="600" i="1">
                  <a:solidFill>
                    <a:schemeClr val="bg1"/>
                  </a:solidFill>
                </a:rPr>
              </a:br>
              <a:r>
                <a:rPr lang="es-VE" sz="600" i="1">
                  <a:solidFill>
                    <a:schemeClr val="bg1"/>
                  </a:solidFill>
                </a:rPr>
                <a:t>Santander</a:t>
              </a:r>
            </a:p>
          </p:txBody>
        </p:sp>
        <p:sp>
          <p:nvSpPr>
            <p:cNvPr id="20551" name="212 CuadroTexto"/>
            <p:cNvSpPr txBox="1">
              <a:spLocks noChangeArrowheads="1"/>
            </p:cNvSpPr>
            <p:nvPr/>
          </p:nvSpPr>
          <p:spPr bwMode="auto">
            <a:xfrm>
              <a:off x="3316489" y="3292701"/>
              <a:ext cx="379852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Santander</a:t>
              </a:r>
            </a:p>
          </p:txBody>
        </p:sp>
        <p:sp>
          <p:nvSpPr>
            <p:cNvPr id="20552" name="213 CuadroTexto"/>
            <p:cNvSpPr txBox="1">
              <a:spLocks noChangeArrowheads="1"/>
            </p:cNvSpPr>
            <p:nvPr/>
          </p:nvSpPr>
          <p:spPr bwMode="auto">
            <a:xfrm>
              <a:off x="4139121" y="3256129"/>
              <a:ext cx="26205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Arauca</a:t>
              </a:r>
            </a:p>
          </p:txBody>
        </p:sp>
        <p:sp>
          <p:nvSpPr>
            <p:cNvPr id="20553" name="214 CuadroTexto"/>
            <p:cNvSpPr txBox="1">
              <a:spLocks noChangeArrowheads="1"/>
            </p:cNvSpPr>
            <p:nvPr/>
          </p:nvSpPr>
          <p:spPr bwMode="auto">
            <a:xfrm>
              <a:off x="3964461" y="3616710"/>
              <a:ext cx="34860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asanare</a:t>
              </a:r>
            </a:p>
          </p:txBody>
        </p:sp>
        <p:sp>
          <p:nvSpPr>
            <p:cNvPr id="20554" name="215 CuadroTexto"/>
            <p:cNvSpPr txBox="1">
              <a:spLocks noChangeArrowheads="1"/>
            </p:cNvSpPr>
            <p:nvPr/>
          </p:nvSpPr>
          <p:spPr bwMode="auto">
            <a:xfrm>
              <a:off x="3424485" y="3616710"/>
              <a:ext cx="276477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Boyacá</a:t>
              </a:r>
            </a:p>
          </p:txBody>
        </p:sp>
        <p:sp>
          <p:nvSpPr>
            <p:cNvPr id="20555" name="216 CuadroTexto"/>
            <p:cNvSpPr txBox="1">
              <a:spLocks noChangeArrowheads="1"/>
            </p:cNvSpPr>
            <p:nvPr/>
          </p:nvSpPr>
          <p:spPr bwMode="auto">
            <a:xfrm>
              <a:off x="4612433" y="3832718"/>
              <a:ext cx="29811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Vichada</a:t>
              </a:r>
            </a:p>
          </p:txBody>
        </p:sp>
        <p:sp>
          <p:nvSpPr>
            <p:cNvPr id="20556" name="217 CuadroTexto"/>
            <p:cNvSpPr txBox="1">
              <a:spLocks noChangeArrowheads="1"/>
            </p:cNvSpPr>
            <p:nvPr/>
          </p:nvSpPr>
          <p:spPr bwMode="auto">
            <a:xfrm>
              <a:off x="3532479" y="4280409"/>
              <a:ext cx="177906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Meta</a:t>
              </a:r>
            </a:p>
          </p:txBody>
        </p:sp>
        <p:sp>
          <p:nvSpPr>
            <p:cNvPr id="20557" name="218 CuadroTexto"/>
            <p:cNvSpPr txBox="1">
              <a:spLocks noChangeArrowheads="1"/>
            </p:cNvSpPr>
            <p:nvPr/>
          </p:nvSpPr>
          <p:spPr bwMode="auto">
            <a:xfrm>
              <a:off x="3777255" y="4744365"/>
              <a:ext cx="331770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Guaviare</a:t>
              </a:r>
            </a:p>
          </p:txBody>
        </p:sp>
        <p:sp>
          <p:nvSpPr>
            <p:cNvPr id="20558" name="219 CuadroTexto"/>
            <p:cNvSpPr txBox="1">
              <a:spLocks noChangeArrowheads="1"/>
            </p:cNvSpPr>
            <p:nvPr/>
          </p:nvSpPr>
          <p:spPr bwMode="auto">
            <a:xfrm>
              <a:off x="4828423" y="4456927"/>
              <a:ext cx="286093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Guainia</a:t>
              </a:r>
            </a:p>
          </p:txBody>
        </p:sp>
        <p:sp>
          <p:nvSpPr>
            <p:cNvPr id="20559" name="220 CuadroTexto"/>
            <p:cNvSpPr txBox="1">
              <a:spLocks noChangeArrowheads="1"/>
            </p:cNvSpPr>
            <p:nvPr/>
          </p:nvSpPr>
          <p:spPr bwMode="auto">
            <a:xfrm>
              <a:off x="4288446" y="5020755"/>
              <a:ext cx="276477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Vaupés</a:t>
              </a:r>
            </a:p>
          </p:txBody>
        </p:sp>
        <p:sp>
          <p:nvSpPr>
            <p:cNvPr id="20560" name="221 CuadroTexto"/>
            <p:cNvSpPr txBox="1">
              <a:spLocks noChangeArrowheads="1"/>
            </p:cNvSpPr>
            <p:nvPr/>
          </p:nvSpPr>
          <p:spPr bwMode="auto">
            <a:xfrm>
              <a:off x="3100498" y="5128758"/>
              <a:ext cx="307728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aquetá</a:t>
              </a:r>
            </a:p>
          </p:txBody>
        </p:sp>
        <p:sp>
          <p:nvSpPr>
            <p:cNvPr id="20561" name="222 CuadroTexto"/>
            <p:cNvSpPr txBox="1">
              <a:spLocks noChangeArrowheads="1"/>
            </p:cNvSpPr>
            <p:nvPr/>
          </p:nvSpPr>
          <p:spPr bwMode="auto">
            <a:xfrm>
              <a:off x="3964461" y="5668775"/>
              <a:ext cx="387066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Amazonas</a:t>
              </a:r>
            </a:p>
          </p:txBody>
        </p:sp>
        <p:sp>
          <p:nvSpPr>
            <p:cNvPr id="20562" name="223 CuadroTexto"/>
            <p:cNvSpPr txBox="1">
              <a:spLocks noChangeArrowheads="1"/>
            </p:cNvSpPr>
            <p:nvPr/>
          </p:nvSpPr>
          <p:spPr bwMode="auto">
            <a:xfrm>
              <a:off x="2447765" y="5152434"/>
              <a:ext cx="375045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Putumayo</a:t>
              </a:r>
            </a:p>
          </p:txBody>
        </p:sp>
        <p:sp>
          <p:nvSpPr>
            <p:cNvPr id="20563" name="224 CuadroTexto"/>
            <p:cNvSpPr txBox="1">
              <a:spLocks noChangeArrowheads="1"/>
            </p:cNvSpPr>
            <p:nvPr/>
          </p:nvSpPr>
          <p:spPr bwMode="auto">
            <a:xfrm>
              <a:off x="2238060" y="4588741"/>
              <a:ext cx="233202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auca</a:t>
              </a:r>
            </a:p>
          </p:txBody>
        </p:sp>
        <p:sp>
          <p:nvSpPr>
            <p:cNvPr id="20564" name="225 CuadroTexto"/>
            <p:cNvSpPr txBox="1">
              <a:spLocks noChangeArrowheads="1"/>
            </p:cNvSpPr>
            <p:nvPr/>
          </p:nvSpPr>
          <p:spPr bwMode="auto">
            <a:xfrm>
              <a:off x="2344530" y="4280409"/>
              <a:ext cx="180312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Valle</a:t>
              </a:r>
            </a:p>
          </p:txBody>
        </p:sp>
        <p:sp>
          <p:nvSpPr>
            <p:cNvPr id="20565" name="226 CuadroTexto"/>
            <p:cNvSpPr txBox="1">
              <a:spLocks noChangeArrowheads="1"/>
            </p:cNvSpPr>
            <p:nvPr/>
          </p:nvSpPr>
          <p:spPr bwMode="auto">
            <a:xfrm>
              <a:off x="1947407" y="4912752"/>
              <a:ext cx="266860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Nariño </a:t>
              </a:r>
            </a:p>
          </p:txBody>
        </p:sp>
        <p:sp>
          <p:nvSpPr>
            <p:cNvPr id="20566" name="227 CuadroTexto"/>
            <p:cNvSpPr txBox="1">
              <a:spLocks noChangeArrowheads="1"/>
            </p:cNvSpPr>
            <p:nvPr/>
          </p:nvSpPr>
          <p:spPr bwMode="auto">
            <a:xfrm>
              <a:off x="2260345" y="3616710"/>
              <a:ext cx="242819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hocó</a:t>
              </a:r>
            </a:p>
          </p:txBody>
        </p:sp>
        <p:sp>
          <p:nvSpPr>
            <p:cNvPr id="20567" name="228 CuadroTexto"/>
            <p:cNvSpPr txBox="1">
              <a:spLocks noChangeArrowheads="1"/>
            </p:cNvSpPr>
            <p:nvPr/>
          </p:nvSpPr>
          <p:spPr bwMode="auto">
            <a:xfrm>
              <a:off x="2601852" y="3292701"/>
              <a:ext cx="360619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Antioquia</a:t>
              </a:r>
            </a:p>
          </p:txBody>
        </p:sp>
        <p:sp>
          <p:nvSpPr>
            <p:cNvPr id="20568" name="229 CuadroTexto"/>
            <p:cNvSpPr txBox="1">
              <a:spLocks noChangeArrowheads="1"/>
            </p:cNvSpPr>
            <p:nvPr/>
          </p:nvSpPr>
          <p:spPr bwMode="auto">
            <a:xfrm>
              <a:off x="2528713" y="2803542"/>
              <a:ext cx="31975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órdoba</a:t>
              </a:r>
            </a:p>
          </p:txBody>
        </p:sp>
        <p:sp>
          <p:nvSpPr>
            <p:cNvPr id="20569" name="230 CuadroTexto"/>
            <p:cNvSpPr txBox="1">
              <a:spLocks noChangeArrowheads="1"/>
            </p:cNvSpPr>
            <p:nvPr/>
          </p:nvSpPr>
          <p:spPr bwMode="auto">
            <a:xfrm>
              <a:off x="2814606" y="2644681"/>
              <a:ext cx="213969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Sucre</a:t>
              </a:r>
            </a:p>
          </p:txBody>
        </p:sp>
        <p:sp>
          <p:nvSpPr>
            <p:cNvPr id="20570" name="231 CuadroTexto"/>
            <p:cNvSpPr txBox="1">
              <a:spLocks noChangeArrowheads="1"/>
            </p:cNvSpPr>
            <p:nvPr/>
          </p:nvSpPr>
          <p:spPr bwMode="auto">
            <a:xfrm>
              <a:off x="2678041" y="3715190"/>
              <a:ext cx="254837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aldas</a:t>
              </a:r>
            </a:p>
          </p:txBody>
        </p:sp>
        <p:sp>
          <p:nvSpPr>
            <p:cNvPr id="20571" name="232 CuadroTexto"/>
            <p:cNvSpPr txBox="1">
              <a:spLocks noChangeArrowheads="1"/>
            </p:cNvSpPr>
            <p:nvPr/>
          </p:nvSpPr>
          <p:spPr bwMode="auto">
            <a:xfrm>
              <a:off x="3024310" y="3899388"/>
              <a:ext cx="538526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Cundinamarca</a:t>
              </a:r>
            </a:p>
          </p:txBody>
        </p:sp>
        <p:sp>
          <p:nvSpPr>
            <p:cNvPr id="20572" name="233 CuadroTexto"/>
            <p:cNvSpPr txBox="1">
              <a:spLocks noChangeArrowheads="1"/>
            </p:cNvSpPr>
            <p:nvPr/>
          </p:nvSpPr>
          <p:spPr bwMode="auto">
            <a:xfrm>
              <a:off x="2687564" y="3991579"/>
              <a:ext cx="295710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Quindío</a:t>
              </a:r>
            </a:p>
          </p:txBody>
        </p:sp>
        <p:sp>
          <p:nvSpPr>
            <p:cNvPr id="20573" name="234 CuadroTexto"/>
            <p:cNvSpPr txBox="1">
              <a:spLocks noChangeArrowheads="1"/>
            </p:cNvSpPr>
            <p:nvPr/>
          </p:nvSpPr>
          <p:spPr bwMode="auto">
            <a:xfrm>
              <a:off x="2776513" y="4156727"/>
              <a:ext cx="250030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Tolima</a:t>
              </a:r>
            </a:p>
          </p:txBody>
        </p:sp>
        <p:sp>
          <p:nvSpPr>
            <p:cNvPr id="20574" name="235 CuadroTexto"/>
            <p:cNvSpPr txBox="1">
              <a:spLocks noChangeArrowheads="1"/>
            </p:cNvSpPr>
            <p:nvPr/>
          </p:nvSpPr>
          <p:spPr bwMode="auto">
            <a:xfrm>
              <a:off x="2743179" y="4499787"/>
              <a:ext cx="189928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Huila</a:t>
              </a:r>
            </a:p>
          </p:txBody>
        </p:sp>
        <p:sp>
          <p:nvSpPr>
            <p:cNvPr id="20575" name="236 CuadroTexto"/>
            <p:cNvSpPr txBox="1">
              <a:spLocks noChangeArrowheads="1"/>
            </p:cNvSpPr>
            <p:nvPr/>
          </p:nvSpPr>
          <p:spPr bwMode="auto">
            <a:xfrm>
              <a:off x="2343005" y="3808907"/>
              <a:ext cx="348601" cy="9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es-VE" sz="600" i="1">
                  <a:solidFill>
                    <a:schemeClr val="bg1"/>
                  </a:solidFill>
                </a:rPr>
                <a:t>Risaralda</a:t>
              </a:r>
            </a:p>
          </p:txBody>
        </p:sp>
      </p:grpSp>
      <p:sp>
        <p:nvSpPr>
          <p:cNvPr id="61" name="17 CuadroTexto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55047" y="5416327"/>
            <a:ext cx="2978521" cy="81560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s-MX" sz="1600" dirty="0"/>
              <a:t>Meta 2014</a:t>
            </a:r>
            <a:r>
              <a:rPr lang="es-MX" sz="1600" b="0" dirty="0"/>
              <a:t>: </a:t>
            </a:r>
            <a:endParaRPr lang="es-MX" sz="1600" b="0" dirty="0" smtClean="0"/>
          </a:p>
          <a:p>
            <a:pPr algn="ctr">
              <a:spcAft>
                <a:spcPts val="600"/>
              </a:spcAft>
            </a:pPr>
            <a:r>
              <a:rPr lang="es-ES" sz="1600" b="0" dirty="0" smtClean="0">
                <a:solidFill>
                  <a:srgbClr val="000000"/>
                </a:solidFill>
              </a:rPr>
              <a:t>5 </a:t>
            </a:r>
            <a:r>
              <a:rPr lang="es-ES" sz="1600" b="0" dirty="0">
                <a:solidFill>
                  <a:srgbClr val="000000"/>
                </a:solidFill>
              </a:rPr>
              <a:t>Centros de Innovación Educativa implementados</a:t>
            </a:r>
            <a:endParaRPr lang="en-US" sz="1600" b="0" dirty="0"/>
          </a:p>
        </p:txBody>
      </p:sp>
      <p:grpSp>
        <p:nvGrpSpPr>
          <p:cNvPr id="9" name="Group 99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-324544" y="1709125"/>
            <a:ext cx="5710237" cy="3736099"/>
            <a:chOff x="1452562" y="2286000"/>
            <a:chExt cx="5710238" cy="3736099"/>
          </a:xfrm>
        </p:grpSpPr>
        <p:graphicFrame>
          <p:nvGraphicFramePr>
            <p:cNvPr id="185" name="94 Diagrama"/>
            <p:cNvGraphicFramePr/>
            <p:nvPr/>
          </p:nvGraphicFramePr>
          <p:xfrm>
            <a:off x="1452562" y="2286000"/>
            <a:ext cx="5710238" cy="37360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cxnSp>
          <p:nvCxnSpPr>
            <p:cNvPr id="20510" name="144 Conector recto"/>
            <p:cNvCxnSpPr>
              <a:cxnSpLocks noChangeShapeType="1"/>
            </p:cNvCxnSpPr>
            <p:nvPr/>
          </p:nvCxnSpPr>
          <p:spPr bwMode="auto">
            <a:xfrm rot="5400000" flipH="1" flipV="1">
              <a:off x="5358606" y="3336132"/>
              <a:ext cx="263525" cy="1587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1" name="146 Conector recto"/>
            <p:cNvCxnSpPr>
              <a:cxnSpLocks noChangeShapeType="1"/>
            </p:cNvCxnSpPr>
            <p:nvPr/>
          </p:nvCxnSpPr>
          <p:spPr bwMode="auto">
            <a:xfrm flipV="1">
              <a:off x="5824537" y="3468688"/>
              <a:ext cx="200025" cy="130175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2" name="106 Conector recto"/>
            <p:cNvCxnSpPr>
              <a:cxnSpLocks noChangeShapeType="1"/>
            </p:cNvCxnSpPr>
            <p:nvPr/>
          </p:nvCxnSpPr>
          <p:spPr bwMode="auto">
            <a:xfrm rot="10800000" flipV="1">
              <a:off x="4887912" y="3994150"/>
              <a:ext cx="200025" cy="65088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3" name="103 Conector recto"/>
            <p:cNvCxnSpPr>
              <a:cxnSpLocks noChangeShapeType="1"/>
            </p:cNvCxnSpPr>
            <p:nvPr/>
          </p:nvCxnSpPr>
          <p:spPr bwMode="auto">
            <a:xfrm rot="10800000">
              <a:off x="4954587" y="4649788"/>
              <a:ext cx="268288" cy="131762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4" name="100 Conector recto"/>
            <p:cNvCxnSpPr>
              <a:cxnSpLocks noChangeShapeType="1"/>
            </p:cNvCxnSpPr>
            <p:nvPr/>
          </p:nvCxnSpPr>
          <p:spPr bwMode="auto">
            <a:xfrm rot="5400000" flipH="1" flipV="1">
              <a:off x="3985419" y="4879181"/>
              <a:ext cx="131762" cy="66675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5" name="97 Conector recto"/>
            <p:cNvCxnSpPr>
              <a:cxnSpLocks noChangeShapeType="1"/>
            </p:cNvCxnSpPr>
            <p:nvPr/>
          </p:nvCxnSpPr>
          <p:spPr bwMode="auto">
            <a:xfrm flipV="1">
              <a:off x="3281362" y="4256088"/>
              <a:ext cx="334963" cy="0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16" name="96 Conector recto"/>
            <p:cNvCxnSpPr>
              <a:cxnSpLocks noChangeShapeType="1"/>
            </p:cNvCxnSpPr>
            <p:nvPr/>
          </p:nvCxnSpPr>
          <p:spPr bwMode="auto">
            <a:xfrm rot="16200000" flipH="1">
              <a:off x="3995738" y="3738562"/>
              <a:ext cx="131762" cy="68263"/>
            </a:xfrm>
            <a:prstGeom prst="line">
              <a:avLst/>
            </a:prstGeom>
            <a:noFill/>
            <a:ln w="76200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20519" name="Picture 76" descr="MCj04342150000[1]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4696" y="3198145"/>
              <a:ext cx="365812" cy="353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0" name="Picture 78" descr="new_admin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408" y="2718429"/>
              <a:ext cx="397040" cy="3327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1" name="Picture 80" descr="new_admin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7829" y="2564569"/>
              <a:ext cx="397040" cy="334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2" name="Picture 81" descr="new_admin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8580" y="2536623"/>
              <a:ext cx="397040" cy="334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3" name="Picture 82" descr="MCj04342150000[1]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8011" y="3205442"/>
              <a:ext cx="365812" cy="3517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4" name="Picture 83" descr="MCj04342150000[1]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7275" y="3205442"/>
              <a:ext cx="365812" cy="3517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25" name="Text Box 85"/>
            <p:cNvSpPr txBox="1">
              <a:spLocks noChangeArrowheads="1"/>
            </p:cNvSpPr>
            <p:nvPr/>
          </p:nvSpPr>
          <p:spPr bwMode="auto">
            <a:xfrm>
              <a:off x="6028188" y="3542567"/>
              <a:ext cx="1134612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US" altLang="ko-KR" sz="1200">
                  <a:solidFill>
                    <a:srgbClr val="000000"/>
                  </a:solidFill>
                </a:rPr>
                <a:t>I. Educativas</a:t>
              </a:r>
            </a:p>
          </p:txBody>
        </p:sp>
        <p:sp>
          <p:nvSpPr>
            <p:cNvPr id="20528" name="Text Box 87"/>
            <p:cNvSpPr txBox="1">
              <a:spLocks noChangeArrowheads="1"/>
            </p:cNvSpPr>
            <p:nvPr/>
          </p:nvSpPr>
          <p:spPr bwMode="auto">
            <a:xfrm>
              <a:off x="5034145" y="2930431"/>
              <a:ext cx="117298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r>
                <a:rPr lang="en-US" altLang="ko-KR" sz="1200">
                  <a:solidFill>
                    <a:srgbClr val="000000"/>
                  </a:solidFill>
                </a:rPr>
                <a:t>Comunidad</a:t>
              </a:r>
            </a:p>
          </p:txBody>
        </p:sp>
      </p:grpSp>
      <p:grpSp>
        <p:nvGrpSpPr>
          <p:cNvPr id="10" name="377 Grupo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 rot="20332986">
            <a:off x="2539644" y="3759859"/>
            <a:ext cx="360362" cy="361950"/>
            <a:chOff x="495484" y="1964854"/>
            <a:chExt cx="1509121" cy="1509121"/>
          </a:xfrm>
        </p:grpSpPr>
        <p:sp>
          <p:nvSpPr>
            <p:cNvPr id="225" name="224 Elipse"/>
            <p:cNvSpPr/>
            <p:nvPr>
              <p:custDataLst>
                <p:tags r:id="rId12"/>
              </p:custDataLst>
            </p:nvPr>
          </p:nvSpPr>
          <p:spPr bwMode="auto">
            <a:xfrm>
              <a:off x="495484" y="1964854"/>
              <a:ext cx="1509121" cy="150912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eaLnBrk="0" hangingPunct="0">
                <a:defRPr/>
              </a:pPr>
              <a:endParaRPr lang="es-VE">
                <a:latin typeface="Arial" charset="0"/>
                <a:ea typeface="ＭＳ Ｐゴシック" pitchFamily="1" charset="-128"/>
              </a:endParaRPr>
            </a:p>
          </p:txBody>
        </p:sp>
        <p:pic>
          <p:nvPicPr>
            <p:cNvPr id="20501" name="Picture 5" descr="http://2.gravatar.com/avatar/f736354b7488a146de1f1a3c16d2b564?size=420"/>
            <p:cNvPicPr>
              <a:picLocks noChangeAspect="1" noChangeArrowheads="1"/>
            </p:cNvPicPr>
            <p:nvPr/>
          </p:nvPicPr>
          <p:blipFill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8794" r="10539"/>
            <a:stretch>
              <a:fillRect/>
            </a:stretch>
          </p:blipFill>
          <p:spPr bwMode="auto">
            <a:xfrm>
              <a:off x="781051" y="2089426"/>
              <a:ext cx="965350" cy="1196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8" name="1 Título"/>
          <p:cNvSpPr>
            <a:spLocks noGrp="1"/>
          </p:cNvSpPr>
          <p:nvPr>
            <p:ph type="title"/>
          </p:nvPr>
        </p:nvSpPr>
        <p:spPr>
          <a:xfrm>
            <a:off x="5437311" y="332656"/>
            <a:ext cx="3959225" cy="782910"/>
          </a:xfrm>
        </p:spPr>
        <p:txBody>
          <a:bodyPr/>
          <a:lstStyle/>
          <a:p>
            <a:pPr>
              <a:defRPr/>
            </a:pPr>
            <a:r>
              <a:rPr lang="es-CO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Contexto del Proyecto</a:t>
            </a:r>
            <a:br>
              <a:rPr lang="es-CO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</a:br>
            <a:r>
              <a:rPr lang="es-CO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CIEN - CIER</a:t>
            </a:r>
            <a:endParaRPr lang="es-CO" sz="2400" i="1" dirty="0" smtClean="0">
              <a:ea typeface="ＭＳ Ｐゴシック" pitchFamily="34" charset="-128"/>
            </a:endParaRPr>
          </a:p>
        </p:txBody>
      </p:sp>
      <p:sp>
        <p:nvSpPr>
          <p:cNvPr id="129" name="CuadroTexto 2"/>
          <p:cNvSpPr txBox="1">
            <a:spLocks noChangeArrowheads="1"/>
          </p:cNvSpPr>
          <p:nvPr/>
        </p:nvSpPr>
        <p:spPr bwMode="auto">
          <a:xfrm>
            <a:off x="6012160" y="1484784"/>
            <a:ext cx="2664296" cy="3416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800" b="0" dirty="0" err="1">
                <a:latin typeface="+mn-lt"/>
              </a:rPr>
              <a:t>Construir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 smtClean="0">
                <a:latin typeface="+mn-lt"/>
              </a:rPr>
              <a:t>capacidades</a:t>
            </a:r>
            <a:r>
              <a:rPr lang="en-US" sz="1800" b="0" dirty="0" smtClean="0">
                <a:latin typeface="+mn-lt"/>
              </a:rPr>
              <a:t> </a:t>
            </a:r>
            <a:r>
              <a:rPr lang="en-US" sz="1800" b="0" dirty="0">
                <a:latin typeface="+mn-lt"/>
              </a:rPr>
              <a:t>de </a:t>
            </a:r>
            <a:r>
              <a:rPr lang="en-US" sz="1800" b="0" dirty="0" err="1">
                <a:latin typeface="+mn-lt"/>
              </a:rPr>
              <a:t>uso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>
                <a:latin typeface="+mn-lt"/>
              </a:rPr>
              <a:t>educativo</a:t>
            </a:r>
            <a:r>
              <a:rPr lang="en-US" sz="1800" b="0" dirty="0">
                <a:latin typeface="+mn-lt"/>
              </a:rPr>
              <a:t> de </a:t>
            </a:r>
            <a:r>
              <a:rPr lang="en-US" sz="1800" b="0" dirty="0" err="1">
                <a:latin typeface="+mn-lt"/>
              </a:rPr>
              <a:t>las</a:t>
            </a:r>
            <a:r>
              <a:rPr lang="en-US" sz="1800" b="0" dirty="0">
                <a:latin typeface="+mn-lt"/>
              </a:rPr>
              <a:t> TIC, </a:t>
            </a:r>
            <a:r>
              <a:rPr lang="en-US" sz="1800" b="0" dirty="0" err="1">
                <a:latin typeface="+mn-lt"/>
              </a:rPr>
              <a:t>para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>
                <a:latin typeface="+mn-lt"/>
              </a:rPr>
              <a:t>mejorar</a:t>
            </a:r>
            <a:r>
              <a:rPr lang="en-US" sz="1800" b="0" dirty="0">
                <a:latin typeface="+mn-lt"/>
              </a:rPr>
              <a:t> la calidad de </a:t>
            </a:r>
            <a:r>
              <a:rPr lang="en-US" sz="1800" b="0" dirty="0" err="1">
                <a:latin typeface="+mn-lt"/>
              </a:rPr>
              <a:t>las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>
                <a:latin typeface="+mn-lt"/>
              </a:rPr>
              <a:t>prácticas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>
                <a:latin typeface="+mn-lt"/>
              </a:rPr>
              <a:t>educativas</a:t>
            </a:r>
            <a:r>
              <a:rPr lang="en-US" sz="1800" b="0" dirty="0">
                <a:latin typeface="+mn-lt"/>
              </a:rPr>
              <a:t> en </a:t>
            </a:r>
            <a:r>
              <a:rPr lang="en-US" sz="1800" b="0" dirty="0" err="1">
                <a:latin typeface="+mn-lt"/>
              </a:rPr>
              <a:t>las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>
                <a:latin typeface="+mn-lt"/>
              </a:rPr>
              <a:t>instituciones</a:t>
            </a:r>
            <a:r>
              <a:rPr lang="en-US" sz="1800" b="0" dirty="0">
                <a:latin typeface="+mn-lt"/>
              </a:rPr>
              <a:t> y </a:t>
            </a:r>
            <a:r>
              <a:rPr lang="en-US" sz="1800" b="0" dirty="0" err="1">
                <a:latin typeface="+mn-lt"/>
              </a:rPr>
              <a:t>entidades</a:t>
            </a:r>
            <a:r>
              <a:rPr lang="en-US" sz="1800" b="0" dirty="0">
                <a:latin typeface="+mn-lt"/>
              </a:rPr>
              <a:t> del </a:t>
            </a:r>
            <a:r>
              <a:rPr lang="en-US" sz="1800" b="0" dirty="0" err="1">
                <a:latin typeface="+mn-lt"/>
              </a:rPr>
              <a:t>Sistema</a:t>
            </a:r>
            <a:r>
              <a:rPr lang="en-US" sz="1800" b="0" dirty="0">
                <a:latin typeface="+mn-lt"/>
              </a:rPr>
              <a:t> </a:t>
            </a:r>
            <a:r>
              <a:rPr lang="en-US" sz="1800" b="0" dirty="0" err="1" smtClean="0">
                <a:latin typeface="+mn-lt"/>
              </a:rPr>
              <a:t>Educativo</a:t>
            </a:r>
            <a:r>
              <a:rPr lang="en-US" sz="1800" b="0" dirty="0" smtClean="0">
                <a:latin typeface="+mn-lt"/>
              </a:rPr>
              <a:t> </a:t>
            </a:r>
            <a:r>
              <a:rPr lang="en-US" sz="1800" b="0" dirty="0" err="1" smtClean="0">
                <a:latin typeface="+mn-lt"/>
              </a:rPr>
              <a:t>Colombiano</a:t>
            </a:r>
            <a:r>
              <a:rPr lang="en-US" sz="1800" dirty="0">
                <a:latin typeface="+mn-lt"/>
              </a:rPr>
              <a:t>.  </a:t>
            </a:r>
          </a:p>
        </p:txBody>
      </p:sp>
    </p:spTree>
    <p:extLst>
      <p:ext uri="{BB962C8B-B14F-4D97-AF65-F5344CB8AC3E}">
        <p14:creationId xmlns="" xmlns:p14="http://schemas.microsoft.com/office/powerpoint/2010/main" val="34068905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uadroTexto 5"/>
          <p:cNvSpPr txBox="1">
            <a:spLocks noChangeArrowheads="1"/>
          </p:cNvSpPr>
          <p:nvPr/>
        </p:nvSpPr>
        <p:spPr bwMode="auto">
          <a:xfrm>
            <a:off x="5580063" y="333375"/>
            <a:ext cx="30956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dirty="0" err="1" smtClean="0">
                <a:solidFill>
                  <a:srgbClr val="800000"/>
                </a:solidFill>
              </a:rPr>
              <a:t>Componentes</a:t>
            </a:r>
            <a:r>
              <a:rPr lang="en-US" dirty="0" smtClean="0">
                <a:solidFill>
                  <a:srgbClr val="800000"/>
                </a:solidFill>
              </a:rPr>
              <a:t> y </a:t>
            </a:r>
            <a:r>
              <a:rPr lang="en-US" dirty="0" err="1" smtClean="0">
                <a:solidFill>
                  <a:srgbClr val="800000"/>
                </a:solidFill>
              </a:rPr>
              <a:t>Metas</a:t>
            </a:r>
            <a:r>
              <a:rPr lang="en-US" dirty="0" smtClean="0">
                <a:solidFill>
                  <a:srgbClr val="800000"/>
                </a:solidFill>
              </a:rPr>
              <a:t> </a:t>
            </a:r>
            <a:r>
              <a:rPr lang="en-US" dirty="0">
                <a:solidFill>
                  <a:srgbClr val="800000"/>
                </a:solidFill>
              </a:rPr>
              <a:t>del </a:t>
            </a:r>
            <a:r>
              <a:rPr lang="en-US" dirty="0" err="1">
                <a:solidFill>
                  <a:srgbClr val="800000"/>
                </a:solidFill>
              </a:rPr>
              <a:t>p</a:t>
            </a:r>
            <a:r>
              <a:rPr lang="en-US" dirty="0" err="1" smtClean="0">
                <a:solidFill>
                  <a:srgbClr val="800000"/>
                </a:solidFill>
              </a:rPr>
              <a:t>royecto</a:t>
            </a:r>
            <a:endParaRPr lang="en-US" dirty="0">
              <a:solidFill>
                <a:srgbClr val="800000"/>
              </a:solidFill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93" t="18444" r="2032" b="14223"/>
          <a:stretch/>
        </p:blipFill>
        <p:spPr>
          <a:xfrm>
            <a:off x="1785510" y="1264919"/>
            <a:ext cx="5522794" cy="50448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428271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1 Título"/>
          <p:cNvSpPr txBox="1">
            <a:spLocks/>
          </p:cNvSpPr>
          <p:nvPr/>
        </p:nvSpPr>
        <p:spPr>
          <a:xfrm>
            <a:off x="4551312" y="260648"/>
            <a:ext cx="4629200" cy="9269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000" b="0" i="0" u="none" strike="noStrike" cap="none" baseline="0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s-CO" sz="2000" b="1" dirty="0"/>
          </a:p>
        </p:txBody>
      </p:sp>
      <p:sp>
        <p:nvSpPr>
          <p:cNvPr id="28" name="1 Título"/>
          <p:cNvSpPr txBox="1">
            <a:spLocks/>
          </p:cNvSpPr>
          <p:nvPr/>
        </p:nvSpPr>
        <p:spPr>
          <a:xfrm>
            <a:off x="4523090" y="274759"/>
            <a:ext cx="4629200" cy="9269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000" b="0" i="0" u="none" strike="noStrike" cap="none" baseline="0">
                <a:solidFill>
                  <a:srgbClr val="8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s-CO" sz="2000" b="1" dirty="0" smtClean="0"/>
              <a:t>Programa de Formación en Uso y Desarrollo de Contenidos Educativos Digitales</a:t>
            </a:r>
            <a:endParaRPr lang="es-CO" sz="2000" b="1" dirty="0"/>
          </a:p>
        </p:txBody>
      </p:sp>
      <p:graphicFrame>
        <p:nvGraphicFramePr>
          <p:cNvPr id="11" name="Diagrama 10"/>
          <p:cNvGraphicFramePr/>
          <p:nvPr>
            <p:extLst>
              <p:ext uri="{D42A27DB-BD31-4B8C-83A1-F6EECF244321}">
                <p14:modId xmlns="" xmlns:p14="http://schemas.microsoft.com/office/powerpoint/2010/main" val="3998695198"/>
              </p:ext>
            </p:extLst>
          </p:nvPr>
        </p:nvGraphicFramePr>
        <p:xfrm>
          <a:off x="467544" y="1340556"/>
          <a:ext cx="7814226" cy="4824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135823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Mq6qFaekS19grz8LJHj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kgKuJdl0erop9yK8P2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0KqMqOvEuP8o7zZ0do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kWVIH.UEOx9LK..VsS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pXFPpPnEagvPfjnech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PjKg1mQkeGfLcVrMld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3jirP3YEKIBbNy.wP4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3aMUkD2UOlwwU0imTV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V6sXpFAUCMluFLSJ3.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UlNn.SgkisVpMziThy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tDLVB8kECpvdIDQSs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lPUr4nb0WwHU0HghPm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2d_Ln4JEeWLjzCm32T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y1i3DM20OvakoakzSS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M0UWWJ2Eq65W26eZTo.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pR1wh0w0KcE_hNf3cp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bKJpLluEOSF6TMhwlx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kLK45BkmfcSMN4tCB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PeUtJuHUmN_xV9Y_t0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11JKbie0u.SIh0.X6E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IcjYx3fEiEKnmOD6MD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L5sIJVyEeFB7ZOw8l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1aWQ2E0KzUSaP7hsa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nWpWZKikqEJ2_so_Tb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CztIv1z0ytt54C8PXO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aTKOYIUky4Snni.7s3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f9kv_XjE.me0YEI4qW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wKm7A8jkSE2IPCQYFm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VLdFASZUGi34WgzUBB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nAdDAMuEeLP19SsqoQ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ssqX7e9kWFjmCHhMVu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LMKgt60irh37yBLN1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46KZ9Wp06mnFe3uE7h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0ouhe.3UGkiielTfXfk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pXFPpPnEagvPfjnech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ELqXepiEGA8rqdjn75_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gH3iEhVkC0DgyJ1vSB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L_Hi0N_E.klDk8wuB3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JSf7W510uHHxDrvdkl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1EYNwbUeD8OXpG35h5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PJdxz550WyXTi9_TUP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pB4IOyUC92zZhpU47QA"/>
</p:tagLst>
</file>

<file path=ppt/theme/theme1.xml><?xml version="1.0" encoding="utf-8"?>
<a:theme xmlns:a="http://schemas.openxmlformats.org/drawingml/2006/main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06</TotalTime>
  <Words>694</Words>
  <Application>Microsoft Office PowerPoint</Application>
  <PresentationFormat>Presentación en pantalla (4:3)</PresentationFormat>
  <Paragraphs>172</Paragraphs>
  <Slides>17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19" baseType="lpstr">
      <vt:lpstr/>
      <vt:lpstr>think-cell Slide</vt:lpstr>
      <vt:lpstr> ICT  EDUCATION CAPABILITY BUILDING PROJECT  Proyecto Centros de Innovación  Componente de Formación de Docentes  Oficina de Innovación Educativa  con Uso de Nuevas Tecnologías  29 de Noviembre de 2013</vt:lpstr>
      <vt:lpstr>Diapositiva 2</vt:lpstr>
      <vt:lpstr>Diapositiva 3</vt:lpstr>
      <vt:lpstr>Diapositiva 4</vt:lpstr>
      <vt:lpstr>Diapositiva 5</vt:lpstr>
      <vt:lpstr>Diapositiva 6</vt:lpstr>
      <vt:lpstr>Contexto del Proyecto CIEN - CIER</vt:lpstr>
      <vt:lpstr>Diapositiva 8</vt:lpstr>
      <vt:lpstr>Diapositiva 9</vt:lpstr>
      <vt:lpstr>Programa de formación en uso y desarrollo de contenidos educativos digitales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TIC-TAC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T CAPABILITY BUILDING PROJECTSeguimiento al ProyectoOficina de Innovación Educativa  con Uso de Nuevas Tecnologías  21 de  Marzo  de 2013</dc:title>
  <dc:creator>Betty Jasmid Buitrago Rosero</dc:creator>
  <cp:lastModifiedBy>Edgar Eslava</cp:lastModifiedBy>
  <cp:revision>130</cp:revision>
  <dcterms:modified xsi:type="dcterms:W3CDTF">2013-11-29T03:19:13Z</dcterms:modified>
</cp:coreProperties>
</file>